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2" r:id="rId3"/>
    <p:sldId id="258" r:id="rId4"/>
    <p:sldId id="266" r:id="rId5"/>
    <p:sldId id="267" r:id="rId6"/>
    <p:sldId id="263" r:id="rId7"/>
    <p:sldId id="269" r:id="rId8"/>
    <p:sldId id="264" r:id="rId9"/>
    <p:sldId id="270" r:id="rId10"/>
    <p:sldId id="265" r:id="rId11"/>
    <p:sldId id="271" r:id="rId12"/>
    <p:sldId id="272" r:id="rId13"/>
    <p:sldId id="273" r:id="rId14"/>
    <p:sldId id="274" r:id="rId15"/>
    <p:sldId id="275" r:id="rId16"/>
    <p:sldId id="276" r:id="rId17"/>
    <p:sldId id="277" r:id="rId18"/>
    <p:sldId id="261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C4DD"/>
    <a:srgbClr val="312152"/>
    <a:srgbClr val="D1E4F7"/>
    <a:srgbClr val="D0DEEC"/>
    <a:srgbClr val="C0D3E6"/>
    <a:srgbClr val="00F2A9"/>
    <a:srgbClr val="322153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F9B19D-84A0-4A29-9D4A-2810893511CE}" v="67" dt="2022-09-13T09:46:20.2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988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Soleil Yi" userId="c719b956-004a-4243-81dc-14be649b7814" providerId="ADAL" clId="{EEF9B19D-84A0-4A29-9D4A-2810893511CE}"/>
    <pc:docChg chg="custSel modSld">
      <pc:chgData name="Soleil Yi" userId="c719b956-004a-4243-81dc-14be649b7814" providerId="ADAL" clId="{EEF9B19D-84A0-4A29-9D4A-2810893511CE}" dt="2022-09-13T09:46:20.550" v="1271" actId="947"/>
      <pc:docMkLst>
        <pc:docMk/>
      </pc:docMkLst>
      <pc:sldChg chg="modSp mod">
        <pc:chgData name="Soleil Yi" userId="c719b956-004a-4243-81dc-14be649b7814" providerId="ADAL" clId="{EEF9B19D-84A0-4A29-9D4A-2810893511CE}" dt="2022-09-13T09:46:12.415" v="75" actId="947"/>
        <pc:sldMkLst>
          <pc:docMk/>
          <pc:sldMk cId="2271741893" sldId="256"/>
        </pc:sldMkLst>
        <pc:spChg chg="mod">
          <ac:chgData name="Soleil Yi" userId="c719b956-004a-4243-81dc-14be649b7814" providerId="ADAL" clId="{EEF9B19D-84A0-4A29-9D4A-2810893511CE}" dt="2022-09-13T09:46:12.379" v="68" actId="947"/>
          <ac:spMkLst>
            <pc:docMk/>
            <pc:sldMk cId="2271741893" sldId="256"/>
            <ac:spMk id="2" creationId="{EC933494-1B63-4A32-964F-D05236799BAA}"/>
          </ac:spMkLst>
        </pc:spChg>
        <pc:spChg chg="mod">
          <ac:chgData name="Soleil Yi" userId="c719b956-004a-4243-81dc-14be649b7814" providerId="ADAL" clId="{EEF9B19D-84A0-4A29-9D4A-2810893511CE}" dt="2022-09-13T09:46:12.385" v="71" actId="947"/>
          <ac:spMkLst>
            <pc:docMk/>
            <pc:sldMk cId="2271741893" sldId="256"/>
            <ac:spMk id="4" creationId="{925DEC91-E0B7-4DB0-AA71-F3810200FA03}"/>
          </ac:spMkLst>
        </pc:spChg>
        <pc:spChg chg="mod">
          <ac:chgData name="Soleil Yi" userId="c719b956-004a-4243-81dc-14be649b7814" providerId="ADAL" clId="{EEF9B19D-84A0-4A29-9D4A-2810893511CE}" dt="2022-09-13T09:46:12.383" v="70" actId="947"/>
          <ac:spMkLst>
            <pc:docMk/>
            <pc:sldMk cId="2271741893" sldId="256"/>
            <ac:spMk id="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378" v="67" actId="947"/>
          <ac:spMkLst>
            <pc:docMk/>
            <pc:sldMk cId="2271741893" sldId="256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375" v="66" actId="947"/>
          <ac:spMkLst>
            <pc:docMk/>
            <pc:sldMk cId="2271741893" sldId="256"/>
            <ac:spMk id="7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381" v="69" actId="947"/>
          <ac:spMkLst>
            <pc:docMk/>
            <pc:sldMk cId="2271741893" sldId="256"/>
            <ac:spMk id="23" creationId="{D509F7FB-EF47-4004-A93A-58DDD0831696}"/>
          </ac:spMkLst>
        </pc:spChg>
        <pc:spChg chg="mod">
          <ac:chgData name="Soleil Yi" userId="c719b956-004a-4243-81dc-14be649b7814" providerId="ADAL" clId="{EEF9B19D-84A0-4A29-9D4A-2810893511CE}" dt="2022-09-13T09:46:12.415" v="75" actId="947"/>
          <ac:spMkLst>
            <pc:docMk/>
            <pc:sldMk cId="2271741893" sldId="256"/>
            <ac:spMk id="27" creationId="{ABB6FDFF-DB34-40E6-B122-19465ED3B218}"/>
          </ac:spMkLst>
        </pc:spChg>
        <pc:spChg chg="mod">
          <ac:chgData name="Soleil Yi" userId="c719b956-004a-4243-81dc-14be649b7814" providerId="ADAL" clId="{EEF9B19D-84A0-4A29-9D4A-2810893511CE}" dt="2022-09-13T09:46:12.267" v="47" actId="947"/>
          <ac:spMkLst>
            <pc:docMk/>
            <pc:sldMk cId="2271741893" sldId="256"/>
            <ac:spMk id="32" creationId="{46F4BFBB-022F-483E-9100-FF3465C75A16}"/>
          </ac:spMkLst>
        </pc:spChg>
      </pc:sldChg>
      <pc:sldChg chg="modSp mod">
        <pc:chgData name="Soleil Yi" userId="c719b956-004a-4243-81dc-14be649b7814" providerId="ADAL" clId="{EEF9B19D-84A0-4A29-9D4A-2810893511CE}" dt="2022-09-13T09:46:12.952" v="143" actId="947"/>
        <pc:sldMkLst>
          <pc:docMk/>
          <pc:sldMk cId="2371597387" sldId="258"/>
        </pc:sldMkLst>
        <pc:spChg chg="mod">
          <ac:chgData name="Soleil Yi" userId="c719b956-004a-4243-81dc-14be649b7814" providerId="ADAL" clId="{EEF9B19D-84A0-4A29-9D4A-2810893511CE}" dt="2022-09-13T09:46:12.892" v="135" actId="947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952" v="143" actId="947"/>
          <ac:spMkLst>
            <pc:docMk/>
            <pc:sldMk cId="2371597387" sldId="258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950" v="142" actId="947"/>
          <ac:spMkLst>
            <pc:docMk/>
            <pc:sldMk cId="2371597387" sldId="258"/>
            <ac:spMk id="7" creationId="{04F69230-F3A6-4586-9371-A858F4763E9F}"/>
          </ac:spMkLst>
        </pc:spChg>
      </pc:sldChg>
      <pc:sldChg chg="modSp mod">
        <pc:chgData name="Soleil Yi" userId="c719b956-004a-4243-81dc-14be649b7814" providerId="ADAL" clId="{EEF9B19D-84A0-4A29-9D4A-2810893511CE}" dt="2022-09-13T09:46:20.550" v="1271" actId="947"/>
        <pc:sldMkLst>
          <pc:docMk/>
          <pc:sldMk cId="1259043032" sldId="261"/>
        </pc:sldMkLst>
        <pc:spChg chg="mod">
          <ac:chgData name="Soleil Yi" userId="c719b956-004a-4243-81dc-14be649b7814" providerId="ADAL" clId="{EEF9B19D-84A0-4A29-9D4A-2810893511CE}" dt="2022-09-13T09:46:20.538" v="1267" actId="947"/>
          <ac:spMkLst>
            <pc:docMk/>
            <pc:sldMk cId="1259043032" sldId="261"/>
            <ac:spMk id="2" creationId="{FF51F16D-1BAD-46EE-A6F4-B8B94C9DF628}"/>
          </ac:spMkLst>
        </pc:spChg>
        <pc:spChg chg="mod">
          <ac:chgData name="Soleil Yi" userId="c719b956-004a-4243-81dc-14be649b7814" providerId="ADAL" clId="{EEF9B19D-84A0-4A29-9D4A-2810893511CE}" dt="2022-09-13T09:46:20.535" v="1265" actId="94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475" v="1251" actId="947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537" v="1266" actId="947"/>
          <ac:spMkLst>
            <pc:docMk/>
            <pc:sldMk cId="1259043032" sldId="261"/>
            <ac:spMk id="7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530" v="1262" actId="947"/>
          <ac:spMkLst>
            <pc:docMk/>
            <pc:sldMk cId="1259043032" sldId="261"/>
            <ac:spMk id="9" creationId="{73089E73-E356-4A5E-9683-F2C57E53B46F}"/>
          </ac:spMkLst>
        </pc:spChg>
        <pc:spChg chg="mod">
          <ac:chgData name="Soleil Yi" userId="c719b956-004a-4243-81dc-14be649b7814" providerId="ADAL" clId="{EEF9B19D-84A0-4A29-9D4A-2810893511CE}" dt="2022-09-13T09:46:20.550" v="1271" actId="947"/>
          <ac:spMkLst>
            <pc:docMk/>
            <pc:sldMk cId="1259043032" sldId="261"/>
            <ac:spMk id="10" creationId="{1EA6DB1C-B589-4502-A0DB-078E651D089E}"/>
          </ac:spMkLst>
        </pc:spChg>
      </pc:sldChg>
      <pc:sldChg chg="modSp mod">
        <pc:chgData name="Soleil Yi" userId="c719b956-004a-4243-81dc-14be649b7814" providerId="ADAL" clId="{EEF9B19D-84A0-4A29-9D4A-2810893511CE}" dt="2022-09-13T09:46:12.867" v="131" actId="947"/>
        <pc:sldMkLst>
          <pc:docMk/>
          <pc:sldMk cId="3236741510" sldId="262"/>
        </pc:sldMkLst>
        <pc:spChg chg="mod">
          <ac:chgData name="Soleil Yi" userId="c719b956-004a-4243-81dc-14be649b7814" providerId="ADAL" clId="{EEF9B19D-84A0-4A29-9D4A-2810893511CE}" dt="2022-09-13T09:46:12.440" v="79" actId="947"/>
          <ac:spMkLst>
            <pc:docMk/>
            <pc:sldMk cId="3236741510" sldId="262"/>
            <ac:spMk id="2" creationId="{ACECF45B-5E47-4948-BE56-C466A516F032}"/>
          </ac:spMkLst>
        </pc:spChg>
        <pc:spChg chg="mod">
          <ac:chgData name="Soleil Yi" userId="c719b956-004a-4243-81dc-14be649b7814" providerId="ADAL" clId="{EEF9B19D-84A0-4A29-9D4A-2810893511CE}" dt="2022-09-13T09:46:12.780" v="119" actId="947"/>
          <ac:spMkLst>
            <pc:docMk/>
            <pc:sldMk cId="3236741510" sldId="262"/>
            <ac:spMk id="1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811" v="123" actId="947"/>
          <ac:spMkLst>
            <pc:docMk/>
            <pc:sldMk cId="3236741510" sldId="262"/>
            <ac:spMk id="14" creationId="{F8E07573-A8E5-42F7-B445-E2E8E3B47ABD}"/>
          </ac:spMkLst>
        </pc:spChg>
        <pc:spChg chg="mod">
          <ac:chgData name="Soleil Yi" userId="c719b956-004a-4243-81dc-14be649b7814" providerId="ADAL" clId="{EEF9B19D-84A0-4A29-9D4A-2810893511CE}" dt="2022-09-13T09:46:12.840" v="127" actId="947"/>
          <ac:spMkLst>
            <pc:docMk/>
            <pc:sldMk cId="3236741510" sldId="262"/>
            <ac:spMk id="1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679" v="107" actId="947"/>
          <ac:spMkLst>
            <pc:docMk/>
            <pc:sldMk cId="3236741510" sldId="262"/>
            <ac:spMk id="1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708" v="111" actId="947"/>
          <ac:spMkLst>
            <pc:docMk/>
            <pc:sldMk cId="3236741510" sldId="262"/>
            <ac:spMk id="18" creationId="{F8E07573-A8E5-42F7-B445-E2E8E3B47ABD}"/>
          </ac:spMkLst>
        </pc:spChg>
        <pc:spChg chg="mod">
          <ac:chgData name="Soleil Yi" userId="c719b956-004a-4243-81dc-14be649b7814" providerId="ADAL" clId="{EEF9B19D-84A0-4A29-9D4A-2810893511CE}" dt="2022-09-13T09:46:12.740" v="115" actId="947"/>
          <ac:spMkLst>
            <pc:docMk/>
            <pc:sldMk cId="3236741510" sldId="262"/>
            <ac:spMk id="19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593" v="95" actId="947"/>
          <ac:spMkLst>
            <pc:docMk/>
            <pc:sldMk cId="3236741510" sldId="262"/>
            <ac:spMk id="20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620" v="99" actId="947"/>
          <ac:spMkLst>
            <pc:docMk/>
            <pc:sldMk cId="3236741510" sldId="262"/>
            <ac:spMk id="22" creationId="{F8E07573-A8E5-42F7-B445-E2E8E3B47ABD}"/>
          </ac:spMkLst>
        </pc:spChg>
        <pc:spChg chg="mod">
          <ac:chgData name="Soleil Yi" userId="c719b956-004a-4243-81dc-14be649b7814" providerId="ADAL" clId="{EEF9B19D-84A0-4A29-9D4A-2810893511CE}" dt="2022-09-13T09:46:12.648" v="103" actId="947"/>
          <ac:spMkLst>
            <pc:docMk/>
            <pc:sldMk cId="3236741510" sldId="262"/>
            <ac:spMk id="2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495" v="83" actId="947"/>
          <ac:spMkLst>
            <pc:docMk/>
            <pc:sldMk cId="3236741510" sldId="262"/>
            <ac:spMk id="2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535" v="87" actId="947"/>
          <ac:spMkLst>
            <pc:docMk/>
            <pc:sldMk cId="3236741510" sldId="262"/>
            <ac:spMk id="26" creationId="{F8E07573-A8E5-42F7-B445-E2E8E3B47ABD}"/>
          </ac:spMkLst>
        </pc:spChg>
        <pc:spChg chg="mod">
          <ac:chgData name="Soleil Yi" userId="c719b956-004a-4243-81dc-14be649b7814" providerId="ADAL" clId="{EEF9B19D-84A0-4A29-9D4A-2810893511CE}" dt="2022-09-13T09:46:12.563" v="91" actId="947"/>
          <ac:spMkLst>
            <pc:docMk/>
            <pc:sldMk cId="3236741510" sldId="262"/>
            <ac:spMk id="27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867" v="131" actId="947"/>
          <ac:spMkLst>
            <pc:docMk/>
            <pc:sldMk cId="3236741510" sldId="262"/>
            <ac:spMk id="28" creationId="{00000000-0000-0000-0000-000000000000}"/>
          </ac:spMkLst>
        </pc:spChg>
      </pc:sldChg>
      <pc:sldChg chg="modSp mod">
        <pc:chgData name="Soleil Yi" userId="c719b956-004a-4243-81dc-14be649b7814" providerId="ADAL" clId="{EEF9B19D-84A0-4A29-9D4A-2810893511CE}" dt="2022-09-13T09:46:13.725" v="287" actId="947"/>
        <pc:sldMkLst>
          <pc:docMk/>
          <pc:sldMk cId="908704752" sldId="263"/>
        </pc:sldMkLst>
        <pc:spChg chg="mod">
          <ac:chgData name="Soleil Yi" userId="c719b956-004a-4243-81dc-14be649b7814" providerId="ADAL" clId="{EEF9B19D-84A0-4A29-9D4A-2810893511CE}" dt="2022-09-13T09:46:13.666" v="279" actId="947"/>
          <ac:spMkLst>
            <pc:docMk/>
            <pc:sldMk cId="908704752" sldId="263"/>
            <ac:spMk id="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723" v="286" actId="947"/>
          <ac:spMkLst>
            <pc:docMk/>
            <pc:sldMk cId="908704752" sldId="263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725" v="287" actId="947"/>
          <ac:spMkLst>
            <pc:docMk/>
            <pc:sldMk cId="908704752" sldId="263"/>
            <ac:spMk id="7" creationId="{04F69230-F3A6-4586-9371-A858F4763E9F}"/>
          </ac:spMkLst>
        </pc:spChg>
      </pc:sldChg>
      <pc:sldChg chg="modSp mod">
        <pc:chgData name="Soleil Yi" userId="c719b956-004a-4243-81dc-14be649b7814" providerId="ADAL" clId="{EEF9B19D-84A0-4A29-9D4A-2810893511CE}" dt="2022-09-13T09:46:14.378" v="383" actId="947"/>
        <pc:sldMkLst>
          <pc:docMk/>
          <pc:sldMk cId="1474652431" sldId="264"/>
        </pc:sldMkLst>
        <pc:spChg chg="mod">
          <ac:chgData name="Soleil Yi" userId="c719b956-004a-4243-81dc-14be649b7814" providerId="ADAL" clId="{EEF9B19D-84A0-4A29-9D4A-2810893511CE}" dt="2022-09-13T09:46:14.319" v="375" actId="947"/>
          <ac:spMkLst>
            <pc:docMk/>
            <pc:sldMk cId="1474652431" sldId="264"/>
            <ac:spMk id="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375" v="382" actId="947"/>
          <ac:spMkLst>
            <pc:docMk/>
            <pc:sldMk cId="1474652431" sldId="264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378" v="383" actId="947"/>
          <ac:spMkLst>
            <pc:docMk/>
            <pc:sldMk cId="1474652431" sldId="264"/>
            <ac:spMk id="7" creationId="{04F69230-F3A6-4586-9371-A858F4763E9F}"/>
          </ac:spMkLst>
        </pc:spChg>
      </pc:sldChg>
      <pc:sldChg chg="modSp mod">
        <pc:chgData name="Soleil Yi" userId="c719b956-004a-4243-81dc-14be649b7814" providerId="ADAL" clId="{EEF9B19D-84A0-4A29-9D4A-2810893511CE}" dt="2022-09-13T09:46:14.927" v="483" actId="947"/>
        <pc:sldMkLst>
          <pc:docMk/>
          <pc:sldMk cId="1732902663" sldId="265"/>
        </pc:sldMkLst>
        <pc:spChg chg="mod">
          <ac:chgData name="Soleil Yi" userId="c719b956-004a-4243-81dc-14be649b7814" providerId="ADAL" clId="{EEF9B19D-84A0-4A29-9D4A-2810893511CE}" dt="2022-09-13T09:46:14.867" v="475" actId="947"/>
          <ac:spMkLst>
            <pc:docMk/>
            <pc:sldMk cId="1732902663" sldId="265"/>
            <ac:spMk id="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927" v="483" actId="947"/>
          <ac:spMkLst>
            <pc:docMk/>
            <pc:sldMk cId="1732902663" sldId="265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923" v="482" actId="947"/>
          <ac:spMkLst>
            <pc:docMk/>
            <pc:sldMk cId="1732902663" sldId="265"/>
            <ac:spMk id="7" creationId="{04F69230-F3A6-4586-9371-A858F4763E9F}"/>
          </ac:spMkLst>
        </pc:spChg>
      </pc:sldChg>
      <pc:sldChg chg="modSp mod">
        <pc:chgData name="Soleil Yi" userId="c719b956-004a-4243-81dc-14be649b7814" providerId="ADAL" clId="{EEF9B19D-84A0-4A29-9D4A-2810893511CE}" dt="2022-09-13T09:46:13.346" v="211" actId="947"/>
        <pc:sldMkLst>
          <pc:docMk/>
          <pc:sldMk cId="4113608106" sldId="266"/>
        </pc:sldMkLst>
        <pc:spChg chg="mod">
          <ac:chgData name="Soleil Yi" userId="c719b956-004a-4243-81dc-14be649b7814" providerId="ADAL" clId="{EEF9B19D-84A0-4A29-9D4A-2810893511CE}" dt="2022-09-13T09:46:13.099" v="175" actId="947"/>
          <ac:spMkLst>
            <pc:docMk/>
            <pc:sldMk cId="4113608106" sldId="266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098" v="174" actId="947"/>
          <ac:spMkLst>
            <pc:docMk/>
            <pc:sldMk cId="4113608106" sldId="266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095" v="173" actId="947"/>
          <ac:spMkLst>
            <pc:docMk/>
            <pc:sldMk cId="4113608106" sldId="266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984" v="147" actId="947"/>
          <ac:spMkLst>
            <pc:docMk/>
            <pc:sldMk cId="4113608106" sldId="266"/>
            <ac:spMk id="8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010" v="159" actId="947"/>
          <ac:spMkLst>
            <pc:docMk/>
            <pc:sldMk cId="4113608106" sldId="266"/>
            <ac:spMk id="10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2.993" v="151" actId="947"/>
          <ac:spMkLst>
            <pc:docMk/>
            <pc:sldMk cId="4113608106" sldId="266"/>
            <ac:spMk id="11" creationId="{F6C0B8BD-8162-4FCA-B7AC-235FD87189C5}"/>
          </ac:spMkLst>
        </pc:spChg>
        <pc:spChg chg="mod">
          <ac:chgData name="Soleil Yi" userId="c719b956-004a-4243-81dc-14be649b7814" providerId="ADAL" clId="{EEF9B19D-84A0-4A29-9D4A-2810893511CE}" dt="2022-09-13T09:46:13.004" v="155" actId="947"/>
          <ac:spMkLst>
            <pc:docMk/>
            <pc:sldMk cId="4113608106" sldId="266"/>
            <ac:spMk id="12" creationId="{4526A6D4-3938-483E-AE04-387A4D4F50AE}"/>
          </ac:spMkLst>
        </pc:spChg>
        <pc:spChg chg="mod">
          <ac:chgData name="Soleil Yi" userId="c719b956-004a-4243-81dc-14be649b7814" providerId="ADAL" clId="{EEF9B19D-84A0-4A29-9D4A-2810893511CE}" dt="2022-09-13T09:46:13.080" v="169" actId="947"/>
          <ac:spMkLst>
            <pc:docMk/>
            <pc:sldMk cId="4113608106" sldId="266"/>
            <ac:spMk id="231" creationId="{257F7A00-C0EE-41E8-8322-4BB112AF7FB1}"/>
          </ac:spMkLst>
        </pc:spChg>
        <pc:spChg chg="mod">
          <ac:chgData name="Soleil Yi" userId="c719b956-004a-4243-81dc-14be649b7814" providerId="ADAL" clId="{EEF9B19D-84A0-4A29-9D4A-2810893511CE}" dt="2022-09-13T09:46:13.179" v="187" actId="947"/>
          <ac:spMkLst>
            <pc:docMk/>
            <pc:sldMk cId="4113608106" sldId="266"/>
            <ac:spMk id="235" creationId="{C2AF9724-AC00-42B1-98F5-A8D04010D450}"/>
          </ac:spMkLst>
        </pc:spChg>
        <pc:spChg chg="mod">
          <ac:chgData name="Soleil Yi" userId="c719b956-004a-4243-81dc-14be649b7814" providerId="ADAL" clId="{EEF9B19D-84A0-4A29-9D4A-2810893511CE}" dt="2022-09-13T09:46:13.207" v="191" actId="947"/>
          <ac:spMkLst>
            <pc:docMk/>
            <pc:sldMk cId="4113608106" sldId="266"/>
            <ac:spMk id="236" creationId="{18E7C8EE-DF42-4AB5-9A0A-51758B784E29}"/>
          </ac:spMkLst>
        </pc:spChg>
        <pc:spChg chg="mod">
          <ac:chgData name="Soleil Yi" userId="c719b956-004a-4243-81dc-14be649b7814" providerId="ADAL" clId="{EEF9B19D-84A0-4A29-9D4A-2810893511CE}" dt="2022-09-13T09:46:13.234" v="195" actId="947"/>
          <ac:spMkLst>
            <pc:docMk/>
            <pc:sldMk cId="4113608106" sldId="266"/>
            <ac:spMk id="237" creationId="{FE01DD8D-28B6-43A9-829A-8D8E172B546F}"/>
          </ac:spMkLst>
        </pc:spChg>
        <pc:spChg chg="mod">
          <ac:chgData name="Soleil Yi" userId="c719b956-004a-4243-81dc-14be649b7814" providerId="ADAL" clId="{EEF9B19D-84A0-4A29-9D4A-2810893511CE}" dt="2022-09-13T09:46:13.262" v="199" actId="947"/>
          <ac:spMkLst>
            <pc:docMk/>
            <pc:sldMk cId="4113608106" sldId="266"/>
            <ac:spMk id="238" creationId="{902E5E03-D063-4D58-87C0-6CD4152B161F}"/>
          </ac:spMkLst>
        </pc:spChg>
        <pc:spChg chg="mod">
          <ac:chgData name="Soleil Yi" userId="c719b956-004a-4243-81dc-14be649b7814" providerId="ADAL" clId="{EEF9B19D-84A0-4A29-9D4A-2810893511CE}" dt="2022-09-13T09:46:13.289" v="203" actId="947"/>
          <ac:spMkLst>
            <pc:docMk/>
            <pc:sldMk cId="4113608106" sldId="266"/>
            <ac:spMk id="239" creationId="{906AB3F5-DC4E-4C05-B160-7720255641CD}"/>
          </ac:spMkLst>
        </pc:spChg>
        <pc:spChg chg="mod">
          <ac:chgData name="Soleil Yi" userId="c719b956-004a-4243-81dc-14be649b7814" providerId="ADAL" clId="{EEF9B19D-84A0-4A29-9D4A-2810893511CE}" dt="2022-09-13T09:46:13.318" v="207" actId="947"/>
          <ac:spMkLst>
            <pc:docMk/>
            <pc:sldMk cId="4113608106" sldId="266"/>
            <ac:spMk id="240" creationId="{1B9DF079-7DED-4895-979B-7928A38A79B3}"/>
          </ac:spMkLst>
        </pc:spChg>
        <pc:spChg chg="mod">
          <ac:chgData name="Soleil Yi" userId="c719b956-004a-4243-81dc-14be649b7814" providerId="ADAL" clId="{EEF9B19D-84A0-4A29-9D4A-2810893511CE}" dt="2022-09-13T09:46:13.346" v="211" actId="947"/>
          <ac:spMkLst>
            <pc:docMk/>
            <pc:sldMk cId="4113608106" sldId="266"/>
            <ac:spMk id="241" creationId="{B45C5553-32FE-4F88-8335-89355930C5A3}"/>
          </ac:spMkLst>
        </pc:spChg>
        <pc:spChg chg="mod">
          <ac:chgData name="Soleil Yi" userId="c719b956-004a-4243-81dc-14be649b7814" providerId="ADAL" clId="{EEF9B19D-84A0-4A29-9D4A-2810893511CE}" dt="2022-09-13T09:46:13.124" v="179" actId="947"/>
          <ac:spMkLst>
            <pc:docMk/>
            <pc:sldMk cId="4113608106" sldId="266"/>
            <ac:spMk id="242" creationId="{854C9F9B-EC70-49A2-84AF-290557D8F0AD}"/>
          </ac:spMkLst>
        </pc:spChg>
        <pc:spChg chg="mod">
          <ac:chgData name="Soleil Yi" userId="c719b956-004a-4243-81dc-14be649b7814" providerId="ADAL" clId="{EEF9B19D-84A0-4A29-9D4A-2810893511CE}" dt="2022-09-13T09:46:13.152" v="183" actId="947"/>
          <ac:spMkLst>
            <pc:docMk/>
            <pc:sldMk cId="4113608106" sldId="266"/>
            <ac:spMk id="243" creationId="{CEEA3951-FF89-47FB-9A85-170E6B95FD2E}"/>
          </ac:spMkLst>
        </pc:spChg>
      </pc:sldChg>
      <pc:sldChg chg="modSp mod">
        <pc:chgData name="Soleil Yi" userId="c719b956-004a-4243-81dc-14be649b7814" providerId="ADAL" clId="{EEF9B19D-84A0-4A29-9D4A-2810893511CE}" dt="2022-09-13T09:46:13.648" v="275" actId="947"/>
        <pc:sldMkLst>
          <pc:docMk/>
          <pc:sldMk cId="497500962" sldId="267"/>
        </pc:sldMkLst>
        <pc:spChg chg="mod">
          <ac:chgData name="Soleil Yi" userId="c719b956-004a-4243-81dc-14be649b7814" providerId="ADAL" clId="{EEF9B19D-84A0-4A29-9D4A-2810893511CE}" dt="2022-09-13T09:46:13.370" v="215" actId="947"/>
          <ac:spMkLst>
            <pc:docMk/>
            <pc:sldMk cId="497500962" sldId="267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472" v="234" actId="947"/>
          <ac:spMkLst>
            <pc:docMk/>
            <pc:sldMk cId="497500962" sldId="267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469" v="233" actId="947"/>
          <ac:spMkLst>
            <pc:docMk/>
            <pc:sldMk cId="497500962" sldId="267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622" v="267" actId="947"/>
          <ac:spMkLst>
            <pc:docMk/>
            <pc:sldMk cId="497500962" sldId="267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634" v="271" actId="947"/>
          <ac:spMkLst>
            <pc:docMk/>
            <pc:sldMk cId="497500962" sldId="267"/>
            <ac:spMk id="7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648" v="275" actId="947"/>
          <ac:spMkLst>
            <pc:docMk/>
            <pc:sldMk cId="497500962" sldId="267"/>
            <ac:spMk id="10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476" v="235" actId="947"/>
          <ac:spMkLst>
            <pc:docMk/>
            <pc:sldMk cId="497500962" sldId="267"/>
            <ac:spMk id="11" creationId="{4526A6D4-3938-483E-AE04-387A4D4F50AE}"/>
          </ac:spMkLst>
        </pc:spChg>
        <pc:spChg chg="mod">
          <ac:chgData name="Soleil Yi" userId="c719b956-004a-4243-81dc-14be649b7814" providerId="ADAL" clId="{EEF9B19D-84A0-4A29-9D4A-2810893511CE}" dt="2022-09-13T09:46:13.453" v="228" actId="947"/>
          <ac:spMkLst>
            <pc:docMk/>
            <pc:sldMk cId="497500962" sldId="267"/>
            <ac:spMk id="13" creationId="{F6C0B8BD-8162-4FCA-B7AC-235FD87189C5}"/>
          </ac:spMkLst>
        </pc:spChg>
        <pc:spChg chg="mod">
          <ac:chgData name="Soleil Yi" userId="c719b956-004a-4243-81dc-14be649b7814" providerId="ADAL" clId="{EEF9B19D-84A0-4A29-9D4A-2810893511CE}" dt="2022-09-13T09:46:13.526" v="243"/>
          <ac:spMkLst>
            <pc:docMk/>
            <pc:sldMk cId="497500962" sldId="267"/>
            <ac:spMk id="14" creationId="{F8E07573-A8E5-42F7-B445-E2E8E3B47ABD}"/>
          </ac:spMkLst>
        </pc:spChg>
        <pc:spChg chg="mod">
          <ac:chgData name="Soleil Yi" userId="c719b956-004a-4243-81dc-14be649b7814" providerId="ADAL" clId="{EEF9B19D-84A0-4A29-9D4A-2810893511CE}" dt="2022-09-13T09:46:13.454" v="229" actId="947"/>
          <ac:spMkLst>
            <pc:docMk/>
            <pc:sldMk cId="497500962" sldId="267"/>
            <ac:spMk id="73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524" v="242" actId="947"/>
          <ac:spMkLst>
            <pc:docMk/>
            <pc:sldMk cId="497500962" sldId="267"/>
            <ac:spMk id="735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555" v="247" actId="947"/>
          <ac:spMkLst>
            <pc:docMk/>
            <pc:sldMk cId="497500962" sldId="267"/>
            <ac:spMk id="73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572" v="251" actId="947"/>
          <ac:spMkLst>
            <pc:docMk/>
            <pc:sldMk cId="497500962" sldId="267"/>
            <ac:spMk id="737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584" v="255" actId="947"/>
          <ac:spMkLst>
            <pc:docMk/>
            <pc:sldMk cId="497500962" sldId="267"/>
            <ac:spMk id="738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597" v="259" actId="947"/>
          <ac:spMkLst>
            <pc:docMk/>
            <pc:sldMk cId="497500962" sldId="267"/>
            <ac:spMk id="739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610" v="263" actId="947"/>
          <ac:spMkLst>
            <pc:docMk/>
            <pc:sldMk cId="497500962" sldId="267"/>
            <ac:spMk id="740" creationId="{00000000-0000-0000-0000-000000000000}"/>
          </ac:spMkLst>
        </pc:spChg>
      </pc:sldChg>
      <pc:sldChg chg="modSp mod">
        <pc:chgData name="Soleil Yi" userId="c719b956-004a-4243-81dc-14be649b7814" providerId="ADAL" clId="{EEF9B19D-84A0-4A29-9D4A-2810893511CE}" dt="2022-09-13T09:46:14.295" v="371" actId="947"/>
        <pc:sldMkLst>
          <pc:docMk/>
          <pc:sldMk cId="4020700013" sldId="269"/>
        </pc:sldMkLst>
        <pc:spChg chg="mod">
          <ac:chgData name="Soleil Yi" userId="c719b956-004a-4243-81dc-14be649b7814" providerId="ADAL" clId="{EEF9B19D-84A0-4A29-9D4A-2810893511CE}" dt="2022-09-13T09:46:13.743" v="291" actId="947"/>
          <ac:spMkLst>
            <pc:docMk/>
            <pc:sldMk cId="4020700013" sldId="269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804" v="302" actId="947"/>
          <ac:spMkLst>
            <pc:docMk/>
            <pc:sldMk cId="4020700013" sldId="269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808" v="303" actId="947"/>
          <ac:spMkLst>
            <pc:docMk/>
            <pc:sldMk cId="4020700013" sldId="269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3.971" v="327" actId="947"/>
          <ac:spMkLst>
            <pc:docMk/>
            <pc:sldMk cId="4020700013" sldId="269"/>
            <ac:spMk id="7" creationId="{E22CA93C-43B0-4482-BF11-91D542CEB85F}"/>
          </ac:spMkLst>
        </pc:spChg>
        <pc:spChg chg="mod">
          <ac:chgData name="Soleil Yi" userId="c719b956-004a-4243-81dc-14be649b7814" providerId="ADAL" clId="{EEF9B19D-84A0-4A29-9D4A-2810893511CE}" dt="2022-09-13T09:46:14" v="331" actId="947"/>
          <ac:spMkLst>
            <pc:docMk/>
            <pc:sldMk cId="4020700013" sldId="269"/>
            <ac:spMk id="8" creationId="{2E32E13E-D710-4642-B955-57480CABB9BC}"/>
          </ac:spMkLst>
        </pc:spChg>
        <pc:spChg chg="mod">
          <ac:chgData name="Soleil Yi" userId="c719b956-004a-4243-81dc-14be649b7814" providerId="ADAL" clId="{EEF9B19D-84A0-4A29-9D4A-2810893511CE}" dt="2022-09-13T09:46:14.029" v="335" actId="947"/>
          <ac:spMkLst>
            <pc:docMk/>
            <pc:sldMk cId="4020700013" sldId="269"/>
            <ac:spMk id="9" creationId="{06A272F3-C880-4595-B9BA-0383397CB615}"/>
          </ac:spMkLst>
        </pc:spChg>
        <pc:spChg chg="mod">
          <ac:chgData name="Soleil Yi" userId="c719b956-004a-4243-81dc-14be649b7814" providerId="ADAL" clId="{EEF9B19D-84A0-4A29-9D4A-2810893511CE}" dt="2022-09-13T09:46:14.056" v="339" actId="947"/>
          <ac:spMkLst>
            <pc:docMk/>
            <pc:sldMk cId="4020700013" sldId="269"/>
            <ac:spMk id="10" creationId="{998FB89B-94D0-41E1-B5C1-AA418FDB780A}"/>
          </ac:spMkLst>
        </pc:spChg>
        <pc:spChg chg="mod">
          <ac:chgData name="Soleil Yi" userId="c719b956-004a-4243-81dc-14be649b7814" providerId="ADAL" clId="{EEF9B19D-84A0-4A29-9D4A-2810893511CE}" dt="2022-09-13T09:46:14.083" v="343"/>
          <ac:spMkLst>
            <pc:docMk/>
            <pc:sldMk cId="4020700013" sldId="269"/>
            <ac:spMk id="11" creationId="{8178FB4B-C75D-4D59-A03E-1BE99E998060}"/>
          </ac:spMkLst>
        </pc:spChg>
        <pc:spChg chg="mod">
          <ac:chgData name="Soleil Yi" userId="c719b956-004a-4243-81dc-14be649b7814" providerId="ADAL" clId="{EEF9B19D-84A0-4A29-9D4A-2810893511CE}" dt="2022-09-13T09:46:14.112" v="347" actId="947"/>
          <ac:spMkLst>
            <pc:docMk/>
            <pc:sldMk cId="4020700013" sldId="269"/>
            <ac:spMk id="12" creationId="{A8542C11-9F1A-492A-8631-AFFA3189D55C}"/>
          </ac:spMkLst>
        </pc:spChg>
        <pc:spChg chg="mod">
          <ac:chgData name="Soleil Yi" userId="c719b956-004a-4243-81dc-14be649b7814" providerId="ADAL" clId="{EEF9B19D-84A0-4A29-9D4A-2810893511CE}" dt="2022-09-13T09:46:14.140" v="351"/>
          <ac:spMkLst>
            <pc:docMk/>
            <pc:sldMk cId="4020700013" sldId="269"/>
            <ac:spMk id="13" creationId="{754D7AC4-6A85-4631-9A30-F1115126AFC1}"/>
          </ac:spMkLst>
        </pc:spChg>
        <pc:spChg chg="mod">
          <ac:chgData name="Soleil Yi" userId="c719b956-004a-4243-81dc-14be649b7814" providerId="ADAL" clId="{EEF9B19D-84A0-4A29-9D4A-2810893511CE}" dt="2022-09-13T09:46:14.168" v="355" actId="947"/>
          <ac:spMkLst>
            <pc:docMk/>
            <pc:sldMk cId="4020700013" sldId="269"/>
            <ac:spMk id="14" creationId="{740CBEBA-0B64-4A71-A759-860D88262133}"/>
          </ac:spMkLst>
        </pc:spChg>
        <pc:spChg chg="mod">
          <ac:chgData name="Soleil Yi" userId="c719b956-004a-4243-81dc-14be649b7814" providerId="ADAL" clId="{EEF9B19D-84A0-4A29-9D4A-2810893511CE}" dt="2022-09-13T09:46:14.194" v="359"/>
          <ac:spMkLst>
            <pc:docMk/>
            <pc:sldMk cId="4020700013" sldId="269"/>
            <ac:spMk id="15" creationId="{9A4C4378-4A70-460F-AE06-ED27695C5AE7}"/>
          </ac:spMkLst>
        </pc:spChg>
        <pc:spChg chg="mod">
          <ac:chgData name="Soleil Yi" userId="c719b956-004a-4243-81dc-14be649b7814" providerId="ADAL" clId="{EEF9B19D-84A0-4A29-9D4A-2810893511CE}" dt="2022-09-13T09:46:14.231" v="363" actId="947"/>
          <ac:spMkLst>
            <pc:docMk/>
            <pc:sldMk cId="4020700013" sldId="269"/>
            <ac:spMk id="17" creationId="{4FF319A3-38DA-4528-A470-E914D98045E0}"/>
          </ac:spMkLst>
        </pc:spChg>
        <pc:spChg chg="mod">
          <ac:chgData name="Soleil Yi" userId="c719b956-004a-4243-81dc-14be649b7814" providerId="ADAL" clId="{EEF9B19D-84A0-4A29-9D4A-2810893511CE}" dt="2022-09-13T09:46:14.262" v="367" actId="947"/>
          <ac:spMkLst>
            <pc:docMk/>
            <pc:sldMk cId="4020700013" sldId="269"/>
            <ac:spMk id="18" creationId="{90562A9E-115B-4C67-8B3D-CDD7543EBEE9}"/>
          </ac:spMkLst>
        </pc:spChg>
        <pc:spChg chg="mod">
          <ac:chgData name="Soleil Yi" userId="c719b956-004a-4243-81dc-14be649b7814" providerId="ADAL" clId="{EEF9B19D-84A0-4A29-9D4A-2810893511CE}" dt="2022-09-13T09:46:14.295" v="371" actId="947"/>
          <ac:spMkLst>
            <pc:docMk/>
            <pc:sldMk cId="4020700013" sldId="269"/>
            <ac:spMk id="19" creationId="{C4168F20-2B2B-4B0A-98FA-24BB474C67E2}"/>
          </ac:spMkLst>
        </pc:spChg>
        <pc:spChg chg="mod">
          <ac:chgData name="Soleil Yi" userId="c719b956-004a-4243-81dc-14be649b7814" providerId="ADAL" clId="{EEF9B19D-84A0-4A29-9D4A-2810893511CE}" dt="2022-09-13T09:46:13.799" v="301" actId="947"/>
          <ac:spMkLst>
            <pc:docMk/>
            <pc:sldMk cId="4020700013" sldId="269"/>
            <ac:spMk id="21" creationId="{AD807E39-BFD8-4F96-ADE5-4F568C171C1A}"/>
          </ac:spMkLst>
        </pc:spChg>
        <pc:spChg chg="mod">
          <ac:chgData name="Soleil Yi" userId="c719b956-004a-4243-81dc-14be649b7814" providerId="ADAL" clId="{EEF9B19D-84A0-4A29-9D4A-2810893511CE}" dt="2022-09-13T09:46:13.833" v="307" actId="947"/>
          <ac:spMkLst>
            <pc:docMk/>
            <pc:sldMk cId="4020700013" sldId="269"/>
            <ac:spMk id="22" creationId="{AD042E71-FACA-4147-B9FB-8C3CAFCE8A96}"/>
          </ac:spMkLst>
        </pc:spChg>
        <pc:spChg chg="mod">
          <ac:chgData name="Soleil Yi" userId="c719b956-004a-4243-81dc-14be649b7814" providerId="ADAL" clId="{EEF9B19D-84A0-4A29-9D4A-2810893511CE}" dt="2022-09-13T09:46:13.861" v="311" actId="947"/>
          <ac:spMkLst>
            <pc:docMk/>
            <pc:sldMk cId="4020700013" sldId="269"/>
            <ac:spMk id="23" creationId="{586088FD-47CD-4521-9BB9-05BD44271C05}"/>
          </ac:spMkLst>
        </pc:spChg>
        <pc:spChg chg="mod">
          <ac:chgData name="Soleil Yi" userId="c719b956-004a-4243-81dc-14be649b7814" providerId="ADAL" clId="{EEF9B19D-84A0-4A29-9D4A-2810893511CE}" dt="2022-09-13T09:46:13.887" v="315" actId="947"/>
          <ac:spMkLst>
            <pc:docMk/>
            <pc:sldMk cId="4020700013" sldId="269"/>
            <ac:spMk id="24" creationId="{040438C7-77D6-44FF-BA57-0B2A1E31A3D3}"/>
          </ac:spMkLst>
        </pc:spChg>
        <pc:spChg chg="mod">
          <ac:chgData name="Soleil Yi" userId="c719b956-004a-4243-81dc-14be649b7814" providerId="ADAL" clId="{EEF9B19D-84A0-4A29-9D4A-2810893511CE}" dt="2022-09-13T09:46:13.916" v="319" actId="947"/>
          <ac:spMkLst>
            <pc:docMk/>
            <pc:sldMk cId="4020700013" sldId="269"/>
            <ac:spMk id="25" creationId="{5F10F2F4-EB9A-4851-B05C-2A0C555954D2}"/>
          </ac:spMkLst>
        </pc:spChg>
        <pc:spChg chg="mod">
          <ac:chgData name="Soleil Yi" userId="c719b956-004a-4243-81dc-14be649b7814" providerId="ADAL" clId="{EEF9B19D-84A0-4A29-9D4A-2810893511CE}" dt="2022-09-13T09:46:13.943" v="323" actId="947"/>
          <ac:spMkLst>
            <pc:docMk/>
            <pc:sldMk cId="4020700013" sldId="269"/>
            <ac:spMk id="26" creationId="{6289EDD3-85F9-414C-92A4-1DFC03732032}"/>
          </ac:spMkLst>
        </pc:spChg>
      </pc:sldChg>
      <pc:sldChg chg="modSp mod">
        <pc:chgData name="Soleil Yi" userId="c719b956-004a-4243-81dc-14be649b7814" providerId="ADAL" clId="{EEF9B19D-84A0-4A29-9D4A-2810893511CE}" dt="2022-09-13T09:46:14.846" v="471" actId="947"/>
        <pc:sldMkLst>
          <pc:docMk/>
          <pc:sldMk cId="344333881" sldId="270"/>
        </pc:sldMkLst>
        <pc:spChg chg="mod">
          <ac:chgData name="Soleil Yi" userId="c719b956-004a-4243-81dc-14be649b7814" providerId="ADAL" clId="{EEF9B19D-84A0-4A29-9D4A-2810893511CE}" dt="2022-09-13T09:46:14.400" v="387" actId="947"/>
          <ac:spMkLst>
            <pc:docMk/>
            <pc:sldMk cId="344333881" sldId="270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559" v="420" actId="947"/>
          <ac:spMkLst>
            <pc:docMk/>
            <pc:sldMk cId="344333881" sldId="270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554" v="418" actId="947"/>
          <ac:spMkLst>
            <pc:docMk/>
            <pc:sldMk cId="344333881" sldId="270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562" v="422" actId="947"/>
          <ac:spMkLst>
            <pc:docMk/>
            <pc:sldMk cId="344333881" sldId="270"/>
            <ac:spMk id="6" creationId="{4341D4B4-F82F-43F2-A547-EDCA79601FBC}"/>
          </ac:spMkLst>
        </pc:spChg>
        <pc:spChg chg="mod">
          <ac:chgData name="Soleil Yi" userId="c719b956-004a-4243-81dc-14be649b7814" providerId="ADAL" clId="{EEF9B19D-84A0-4A29-9D4A-2810893511CE}" dt="2022-09-13T09:46:14.561" v="421" actId="947"/>
          <ac:spMkLst>
            <pc:docMk/>
            <pc:sldMk cId="344333881" sldId="270"/>
            <ac:spMk id="9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4.565" v="423" actId="947"/>
          <ac:spMkLst>
            <pc:docMk/>
            <pc:sldMk cId="344333881" sldId="270"/>
            <ac:spMk id="10" creationId="{0F040150-BD15-4DCA-A406-450673C51702}"/>
          </ac:spMkLst>
        </pc:spChg>
        <pc:spChg chg="mod">
          <ac:chgData name="Soleil Yi" userId="c719b956-004a-4243-81dc-14be649b7814" providerId="ADAL" clId="{EEF9B19D-84A0-4A29-9D4A-2810893511CE}" dt="2022-09-13T09:46:14.557" v="419" actId="947"/>
          <ac:spMkLst>
            <pc:docMk/>
            <pc:sldMk cId="344333881" sldId="270"/>
            <ac:spMk id="11" creationId="{7CB3C01B-56EE-47E2-8A59-AF62D3A14341}"/>
          </ac:spMkLst>
        </pc:spChg>
        <pc:spChg chg="mod">
          <ac:chgData name="Soleil Yi" userId="c719b956-004a-4243-81dc-14be649b7814" providerId="ADAL" clId="{EEF9B19D-84A0-4A29-9D4A-2810893511CE}" dt="2022-09-13T09:46:14.517" v="409" actId="947"/>
          <ac:spMkLst>
            <pc:docMk/>
            <pc:sldMk cId="344333881" sldId="270"/>
            <ac:spMk id="14" creationId="{AA6662C5-0D35-492F-A518-F911D95AF46D}"/>
          </ac:spMkLst>
        </pc:spChg>
        <pc:spChg chg="mod">
          <ac:chgData name="Soleil Yi" userId="c719b956-004a-4243-81dc-14be649b7814" providerId="ADAL" clId="{EEF9B19D-84A0-4A29-9D4A-2810893511CE}" dt="2022-09-13T09:46:14.601" v="434" actId="947"/>
          <ac:spMkLst>
            <pc:docMk/>
            <pc:sldMk cId="344333881" sldId="270"/>
            <ac:spMk id="16" creationId="{F3A996A6-4415-424A-AF64-FDD385B298BA}"/>
          </ac:spMkLst>
        </pc:spChg>
        <pc:spChg chg="mod">
          <ac:chgData name="Soleil Yi" userId="c719b956-004a-4243-81dc-14be649b7814" providerId="ADAL" clId="{EEF9B19D-84A0-4A29-9D4A-2810893511CE}" dt="2022-09-13T09:46:14.651" v="446" actId="947"/>
          <ac:spMkLst>
            <pc:docMk/>
            <pc:sldMk cId="344333881" sldId="270"/>
            <ac:spMk id="17" creationId="{62E62898-841C-4D6D-AC6D-2F9BCE3BA8A2}"/>
          </ac:spMkLst>
        </pc:spChg>
        <pc:spChg chg="mod">
          <ac:chgData name="Soleil Yi" userId="c719b956-004a-4243-81dc-14be649b7814" providerId="ADAL" clId="{EEF9B19D-84A0-4A29-9D4A-2810893511CE}" dt="2022-09-13T09:46:14.514" v="407" actId="947"/>
          <ac:spMkLst>
            <pc:docMk/>
            <pc:sldMk cId="344333881" sldId="270"/>
            <ac:spMk id="21" creationId="{D5626427-10EE-4EB1-898A-DD6B070234A2}"/>
          </ac:spMkLst>
        </pc:spChg>
        <pc:spChg chg="mod">
          <ac:chgData name="Soleil Yi" userId="c719b956-004a-4243-81dc-14be649b7814" providerId="ADAL" clId="{EEF9B19D-84A0-4A29-9D4A-2810893511CE}" dt="2022-09-13T09:46:14.596" v="432" actId="947"/>
          <ac:spMkLst>
            <pc:docMk/>
            <pc:sldMk cId="344333881" sldId="270"/>
            <ac:spMk id="23" creationId="{40F312D4-6A89-40A5-AEA6-EEA5FC6BDBEF}"/>
          </ac:spMkLst>
        </pc:spChg>
        <pc:spChg chg="mod">
          <ac:chgData name="Soleil Yi" userId="c719b956-004a-4243-81dc-14be649b7814" providerId="ADAL" clId="{EEF9B19D-84A0-4A29-9D4A-2810893511CE}" dt="2022-09-13T09:46:14.646" v="444" actId="947"/>
          <ac:spMkLst>
            <pc:docMk/>
            <pc:sldMk cId="344333881" sldId="270"/>
            <ac:spMk id="24" creationId="{98DEEF66-1189-4181-9426-B6AE1B94D3BC}"/>
          </ac:spMkLst>
        </pc:spChg>
        <pc:spChg chg="mod">
          <ac:chgData name="Soleil Yi" userId="c719b956-004a-4243-81dc-14be649b7814" providerId="ADAL" clId="{EEF9B19D-84A0-4A29-9D4A-2810893511CE}" dt="2022-09-13T09:46:14.655" v="447" actId="947"/>
          <ac:spMkLst>
            <pc:docMk/>
            <pc:sldMk cId="344333881" sldId="270"/>
            <ac:spMk id="48" creationId="{C2AF9724-AC00-42B1-98F5-A8D04010D450}"/>
          </ac:spMkLst>
        </pc:spChg>
        <pc:spChg chg="mod">
          <ac:chgData name="Soleil Yi" userId="c719b956-004a-4243-81dc-14be649b7814" providerId="ADAL" clId="{EEF9B19D-84A0-4A29-9D4A-2810893511CE}" dt="2022-09-13T09:46:14.696" v="451" actId="947"/>
          <ac:spMkLst>
            <pc:docMk/>
            <pc:sldMk cId="344333881" sldId="270"/>
            <ac:spMk id="49" creationId="{18E7C8EE-DF42-4AB5-9A0A-51758B784E29}"/>
          </ac:spMkLst>
        </pc:spChg>
        <pc:spChg chg="mod">
          <ac:chgData name="Soleil Yi" userId="c719b956-004a-4243-81dc-14be649b7814" providerId="ADAL" clId="{EEF9B19D-84A0-4A29-9D4A-2810893511CE}" dt="2022-09-13T09:46:14.725" v="455" actId="947"/>
          <ac:spMkLst>
            <pc:docMk/>
            <pc:sldMk cId="344333881" sldId="270"/>
            <ac:spMk id="50" creationId="{FE01DD8D-28B6-43A9-829A-8D8E172B546F}"/>
          </ac:spMkLst>
        </pc:spChg>
        <pc:spChg chg="mod">
          <ac:chgData name="Soleil Yi" userId="c719b956-004a-4243-81dc-14be649b7814" providerId="ADAL" clId="{EEF9B19D-84A0-4A29-9D4A-2810893511CE}" dt="2022-09-13T09:46:14.754" v="459" actId="947"/>
          <ac:spMkLst>
            <pc:docMk/>
            <pc:sldMk cId="344333881" sldId="270"/>
            <ac:spMk id="51" creationId="{902E5E03-D063-4D58-87C0-6CD4152B161F}"/>
          </ac:spMkLst>
        </pc:spChg>
        <pc:spChg chg="mod">
          <ac:chgData name="Soleil Yi" userId="c719b956-004a-4243-81dc-14be649b7814" providerId="ADAL" clId="{EEF9B19D-84A0-4A29-9D4A-2810893511CE}" dt="2022-09-13T09:46:14.792" v="463" actId="947"/>
          <ac:spMkLst>
            <pc:docMk/>
            <pc:sldMk cId="344333881" sldId="270"/>
            <ac:spMk id="52" creationId="{906AB3F5-DC4E-4C05-B160-7720255641CD}"/>
          </ac:spMkLst>
        </pc:spChg>
        <pc:spChg chg="mod">
          <ac:chgData name="Soleil Yi" userId="c719b956-004a-4243-81dc-14be649b7814" providerId="ADAL" clId="{EEF9B19D-84A0-4A29-9D4A-2810893511CE}" dt="2022-09-13T09:46:14.820" v="467" actId="947"/>
          <ac:spMkLst>
            <pc:docMk/>
            <pc:sldMk cId="344333881" sldId="270"/>
            <ac:spMk id="53" creationId="{1B9DF079-7DED-4895-979B-7928A38A79B3}"/>
          </ac:spMkLst>
        </pc:spChg>
        <pc:spChg chg="mod">
          <ac:chgData name="Soleil Yi" userId="c719b956-004a-4243-81dc-14be649b7814" providerId="ADAL" clId="{EEF9B19D-84A0-4A29-9D4A-2810893511CE}" dt="2022-09-13T09:46:14.846" v="471" actId="947"/>
          <ac:spMkLst>
            <pc:docMk/>
            <pc:sldMk cId="344333881" sldId="270"/>
            <ac:spMk id="54" creationId="{B45C5553-32FE-4F88-8335-89355930C5A3}"/>
          </ac:spMkLst>
        </pc:spChg>
        <pc:spChg chg="mod">
          <ac:chgData name="Soleil Yi" userId="c719b956-004a-4243-81dc-14be649b7814" providerId="ADAL" clId="{EEF9B19D-84A0-4A29-9D4A-2810893511CE}" dt="2022-09-13T09:46:14.532" v="412" actId="947"/>
          <ac:spMkLst>
            <pc:docMk/>
            <pc:sldMk cId="344333881" sldId="270"/>
            <ac:spMk id="55" creationId="{854C9F9B-EC70-49A2-84AF-290557D8F0AD}"/>
          </ac:spMkLst>
        </pc:spChg>
        <pc:spChg chg="mod">
          <ac:chgData name="Soleil Yi" userId="c719b956-004a-4243-81dc-14be649b7814" providerId="ADAL" clId="{EEF9B19D-84A0-4A29-9D4A-2810893511CE}" dt="2022-09-13T09:46:14.606" v="435" actId="947"/>
          <ac:spMkLst>
            <pc:docMk/>
            <pc:sldMk cId="344333881" sldId="270"/>
            <ac:spMk id="56" creationId="{CEEA3951-FF89-47FB-9A85-170E6B95FD2E}"/>
          </ac:spMkLst>
        </pc:spChg>
      </pc:sldChg>
      <pc:sldChg chg="modSp mod">
        <pc:chgData name="Soleil Yi" userId="c719b956-004a-4243-81dc-14be649b7814" providerId="ADAL" clId="{EEF9B19D-84A0-4A29-9D4A-2810893511CE}" dt="2022-09-13T09:46:15.632" v="571" actId="947"/>
        <pc:sldMkLst>
          <pc:docMk/>
          <pc:sldMk cId="533002208" sldId="271"/>
        </pc:sldMkLst>
        <pc:spChg chg="mod">
          <ac:chgData name="Soleil Yi" userId="c719b956-004a-4243-81dc-14be649b7814" providerId="ADAL" clId="{EEF9B19D-84A0-4A29-9D4A-2810893511CE}" dt="2022-09-13T09:46:14.950" v="487" actId="947"/>
          <ac:spMkLst>
            <pc:docMk/>
            <pc:sldMk cId="533002208" sldId="271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5.034" v="503" actId="947"/>
          <ac:spMkLst>
            <pc:docMk/>
            <pc:sldMk cId="533002208" sldId="271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5.033" v="502" actId="947"/>
          <ac:spMkLst>
            <pc:docMk/>
            <pc:sldMk cId="533002208" sldId="271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5.385" v="543" actId="947"/>
          <ac:spMkLst>
            <pc:docMk/>
            <pc:sldMk cId="533002208" sldId="271"/>
            <ac:spMk id="9" creationId="{7DA25E7A-94E9-459A-AA0B-86378736E31F}"/>
          </ac:spMkLst>
        </pc:spChg>
        <pc:spChg chg="mod">
          <ac:chgData name="Soleil Yi" userId="c719b956-004a-4243-81dc-14be649b7814" providerId="ADAL" clId="{EEF9B19D-84A0-4A29-9D4A-2810893511CE}" dt="2022-09-13T09:46:15.414" v="547" actId="947"/>
          <ac:spMkLst>
            <pc:docMk/>
            <pc:sldMk cId="533002208" sldId="271"/>
            <ac:spMk id="10" creationId="{4CE1AC9C-B94E-4504-B830-3B58E71C044C}"/>
          </ac:spMkLst>
        </pc:spChg>
        <pc:spChg chg="mod">
          <ac:chgData name="Soleil Yi" userId="c719b956-004a-4243-81dc-14be649b7814" providerId="ADAL" clId="{EEF9B19D-84A0-4A29-9D4A-2810893511CE}" dt="2022-09-13T09:46:15.442" v="551" actId="947"/>
          <ac:spMkLst>
            <pc:docMk/>
            <pc:sldMk cId="533002208" sldId="271"/>
            <ac:spMk id="11" creationId="{2A2F5BFF-33E1-40F1-B8C8-92FCF749191C}"/>
          </ac:spMkLst>
        </pc:spChg>
        <pc:spChg chg="mod">
          <ac:chgData name="Soleil Yi" userId="c719b956-004a-4243-81dc-14be649b7814" providerId="ADAL" clId="{EEF9B19D-84A0-4A29-9D4A-2810893511CE}" dt="2022-09-13T09:46:15.470" v="555" actId="947"/>
          <ac:spMkLst>
            <pc:docMk/>
            <pc:sldMk cId="533002208" sldId="271"/>
            <ac:spMk id="12" creationId="{5243EAC1-AE63-4785-9BF4-46F2D7D48D42}"/>
          </ac:spMkLst>
        </pc:spChg>
        <pc:spChg chg="mod">
          <ac:chgData name="Soleil Yi" userId="c719b956-004a-4243-81dc-14be649b7814" providerId="ADAL" clId="{EEF9B19D-84A0-4A29-9D4A-2810893511CE}" dt="2022-09-13T09:46:15.498" v="559" actId="947"/>
          <ac:spMkLst>
            <pc:docMk/>
            <pc:sldMk cId="533002208" sldId="271"/>
            <ac:spMk id="13" creationId="{3AC2EDEA-8354-4037-B884-D7677E710D6B}"/>
          </ac:spMkLst>
        </pc:spChg>
        <pc:spChg chg="mod">
          <ac:chgData name="Soleil Yi" userId="c719b956-004a-4243-81dc-14be649b7814" providerId="ADAL" clId="{EEF9B19D-84A0-4A29-9D4A-2810893511CE}" dt="2022-09-13T09:46:15.545" v="563" actId="947"/>
          <ac:spMkLst>
            <pc:docMk/>
            <pc:sldMk cId="533002208" sldId="271"/>
            <ac:spMk id="14" creationId="{9C6EAED5-DDBA-4858-892E-1FDDE055D42E}"/>
          </ac:spMkLst>
        </pc:spChg>
        <pc:spChg chg="mod">
          <ac:chgData name="Soleil Yi" userId="c719b956-004a-4243-81dc-14be649b7814" providerId="ADAL" clId="{EEF9B19D-84A0-4A29-9D4A-2810893511CE}" dt="2022-09-13T09:46:15.588" v="567" actId="947"/>
          <ac:spMkLst>
            <pc:docMk/>
            <pc:sldMk cId="533002208" sldId="271"/>
            <ac:spMk id="15" creationId="{B236D6F2-F9DD-42A0-8B7F-960A4C03CE71}"/>
          </ac:spMkLst>
        </pc:spChg>
        <pc:spChg chg="mod">
          <ac:chgData name="Soleil Yi" userId="c719b956-004a-4243-81dc-14be649b7814" providerId="ADAL" clId="{EEF9B19D-84A0-4A29-9D4A-2810893511CE}" dt="2022-09-13T09:46:15.632" v="571" actId="947"/>
          <ac:spMkLst>
            <pc:docMk/>
            <pc:sldMk cId="533002208" sldId="271"/>
            <ac:spMk id="16" creationId="{8CB1474F-542F-4B7D-85C6-8EA5DC732FD2}"/>
          </ac:spMkLst>
        </pc:spChg>
        <pc:spChg chg="mod">
          <ac:chgData name="Soleil Yi" userId="c719b956-004a-4243-81dc-14be649b7814" providerId="ADAL" clId="{EEF9B19D-84A0-4A29-9D4A-2810893511CE}" dt="2022-09-13T09:46:15.017" v="498" actId="947"/>
          <ac:spMkLst>
            <pc:docMk/>
            <pc:sldMk cId="533002208" sldId="271"/>
            <ac:spMk id="17" creationId="{3BEC5C17-AEC6-4A42-81AE-74DE1C5288E5}"/>
          </ac:spMkLst>
        </pc:spChg>
        <pc:spChg chg="mod">
          <ac:chgData name="Soleil Yi" userId="c719b956-004a-4243-81dc-14be649b7814" providerId="ADAL" clId="{EEF9B19D-84A0-4A29-9D4A-2810893511CE}" dt="2022-09-13T09:46:15.062" v="507" actId="947"/>
          <ac:spMkLst>
            <pc:docMk/>
            <pc:sldMk cId="533002208" sldId="271"/>
            <ac:spMk id="18" creationId="{3D670539-0138-4149-8FBB-9240066DB951}"/>
          </ac:spMkLst>
        </pc:spChg>
        <pc:spChg chg="mod">
          <ac:chgData name="Soleil Yi" userId="c719b956-004a-4243-81dc-14be649b7814" providerId="ADAL" clId="{EEF9B19D-84A0-4A29-9D4A-2810893511CE}" dt="2022-09-13T09:46:15.097" v="511" actId="947"/>
          <ac:spMkLst>
            <pc:docMk/>
            <pc:sldMk cId="533002208" sldId="271"/>
            <ac:spMk id="19" creationId="{C57EBFA6-A653-468C-9059-43DF65A41E72}"/>
          </ac:spMkLst>
        </pc:spChg>
        <pc:spChg chg="mod">
          <ac:chgData name="Soleil Yi" userId="c719b956-004a-4243-81dc-14be649b7814" providerId="ADAL" clId="{EEF9B19D-84A0-4A29-9D4A-2810893511CE}" dt="2022-09-13T09:46:15.132" v="515" actId="947"/>
          <ac:spMkLst>
            <pc:docMk/>
            <pc:sldMk cId="533002208" sldId="271"/>
            <ac:spMk id="20" creationId="{AEB6B914-91DA-4E11-B553-833C2DF0F057}"/>
          </ac:spMkLst>
        </pc:spChg>
        <pc:spChg chg="mod">
          <ac:chgData name="Soleil Yi" userId="c719b956-004a-4243-81dc-14be649b7814" providerId="ADAL" clId="{EEF9B19D-84A0-4A29-9D4A-2810893511CE}" dt="2022-09-13T09:46:15.163" v="519" actId="947"/>
          <ac:spMkLst>
            <pc:docMk/>
            <pc:sldMk cId="533002208" sldId="271"/>
            <ac:spMk id="21" creationId="{90D5DA5E-17BE-42E0-86F1-8B0338A02264}"/>
          </ac:spMkLst>
        </pc:spChg>
        <pc:spChg chg="mod">
          <ac:chgData name="Soleil Yi" userId="c719b956-004a-4243-81dc-14be649b7814" providerId="ADAL" clId="{EEF9B19D-84A0-4A29-9D4A-2810893511CE}" dt="2022-09-13T09:46:15.205" v="523" actId="947"/>
          <ac:spMkLst>
            <pc:docMk/>
            <pc:sldMk cId="533002208" sldId="271"/>
            <ac:spMk id="22" creationId="{740B61BB-EB72-4A51-BEC5-3DC0C9D1DF77}"/>
          </ac:spMkLst>
        </pc:spChg>
        <pc:spChg chg="mod">
          <ac:chgData name="Soleil Yi" userId="c719b956-004a-4243-81dc-14be649b7814" providerId="ADAL" clId="{EEF9B19D-84A0-4A29-9D4A-2810893511CE}" dt="2022-09-13T09:46:15.237" v="527" actId="947"/>
          <ac:spMkLst>
            <pc:docMk/>
            <pc:sldMk cId="533002208" sldId="271"/>
            <ac:spMk id="23" creationId="{5E38381A-7987-4F59-9A07-6FEBC8C33FC5}"/>
          </ac:spMkLst>
        </pc:spChg>
        <pc:spChg chg="mod">
          <ac:chgData name="Soleil Yi" userId="c719b956-004a-4243-81dc-14be649b7814" providerId="ADAL" clId="{EEF9B19D-84A0-4A29-9D4A-2810893511CE}" dt="2022-09-13T09:46:15.275" v="531" actId="947"/>
          <ac:spMkLst>
            <pc:docMk/>
            <pc:sldMk cId="533002208" sldId="271"/>
            <ac:spMk id="24" creationId="{040F146B-E9FF-44D9-8EE9-D24AB02880A3}"/>
          </ac:spMkLst>
        </pc:spChg>
        <pc:spChg chg="mod">
          <ac:chgData name="Soleil Yi" userId="c719b956-004a-4243-81dc-14be649b7814" providerId="ADAL" clId="{EEF9B19D-84A0-4A29-9D4A-2810893511CE}" dt="2022-09-13T09:46:15.315" v="535" actId="947"/>
          <ac:spMkLst>
            <pc:docMk/>
            <pc:sldMk cId="533002208" sldId="271"/>
            <ac:spMk id="25" creationId="{4A9CAB94-50F4-4C6F-8308-23DD23B903A8}"/>
          </ac:spMkLst>
        </pc:spChg>
        <pc:spChg chg="mod">
          <ac:chgData name="Soleil Yi" userId="c719b956-004a-4243-81dc-14be649b7814" providerId="ADAL" clId="{EEF9B19D-84A0-4A29-9D4A-2810893511CE}" dt="2022-09-13T09:46:15.346" v="539" actId="947"/>
          <ac:spMkLst>
            <pc:docMk/>
            <pc:sldMk cId="533002208" sldId="271"/>
            <ac:spMk id="26" creationId="{B8FFCD2C-CCBD-4C98-8E2F-7DAB61B89AA9}"/>
          </ac:spMkLst>
        </pc:spChg>
        <pc:spChg chg="mod">
          <ac:chgData name="Soleil Yi" userId="c719b956-004a-4243-81dc-14be649b7814" providerId="ADAL" clId="{EEF9B19D-84A0-4A29-9D4A-2810893511CE}" dt="2022-09-13T09:46:15.031" v="501" actId="947"/>
          <ac:spMkLst>
            <pc:docMk/>
            <pc:sldMk cId="533002208" sldId="271"/>
            <ac:spMk id="28" creationId="{0F040150-BD15-4DCA-A406-450673C51702}"/>
          </ac:spMkLst>
        </pc:spChg>
      </pc:sldChg>
      <pc:sldChg chg="modSp mod">
        <pc:chgData name="Soleil Yi" userId="c719b956-004a-4243-81dc-14be649b7814" providerId="ADAL" clId="{EEF9B19D-84A0-4A29-9D4A-2810893511CE}" dt="2022-09-13T09:46:15.952" v="659" actId="947"/>
        <pc:sldMkLst>
          <pc:docMk/>
          <pc:sldMk cId="1304984164" sldId="272"/>
        </pc:sldMkLst>
        <pc:spChg chg="mod">
          <ac:chgData name="Soleil Yi" userId="c719b956-004a-4243-81dc-14be649b7814" providerId="ADAL" clId="{EEF9B19D-84A0-4A29-9D4A-2810893511CE}" dt="2022-09-13T09:46:15.650" v="575" actId="947"/>
          <ac:spMkLst>
            <pc:docMk/>
            <pc:sldMk cId="1304984164" sldId="272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5.706" v="587" actId="947"/>
          <ac:spMkLst>
            <pc:docMk/>
            <pc:sldMk cId="1304984164" sldId="272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5.699" v="584" actId="947"/>
          <ac:spMkLst>
            <pc:docMk/>
            <pc:sldMk cId="1304984164" sldId="272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5.735" v="595" actId="947"/>
          <ac:spMkLst>
            <pc:docMk/>
            <pc:sldMk cId="1304984164" sldId="272"/>
            <ac:spMk id="7" creationId="{4DAE5FEE-9D93-4793-B1FC-F7A85FA95DE8}"/>
          </ac:spMkLst>
        </pc:spChg>
        <pc:spChg chg="mod">
          <ac:chgData name="Soleil Yi" userId="c719b956-004a-4243-81dc-14be649b7814" providerId="ADAL" clId="{EEF9B19D-84A0-4A29-9D4A-2810893511CE}" dt="2022-09-13T09:46:15.753" v="599" actId="947"/>
          <ac:spMkLst>
            <pc:docMk/>
            <pc:sldMk cId="1304984164" sldId="272"/>
            <ac:spMk id="8" creationId="{97CBD5C3-4A08-43CC-9577-FE6481FDB57A}"/>
          </ac:spMkLst>
        </pc:spChg>
        <pc:spChg chg="mod">
          <ac:chgData name="Soleil Yi" userId="c719b956-004a-4243-81dc-14be649b7814" providerId="ADAL" clId="{EEF9B19D-84A0-4A29-9D4A-2810893511CE}" dt="2022-09-13T09:46:15.768" v="603" actId="947"/>
          <ac:spMkLst>
            <pc:docMk/>
            <pc:sldMk cId="1304984164" sldId="272"/>
            <ac:spMk id="9" creationId="{8CE8E484-2FD2-4A08-809B-51F4267BE01F}"/>
          </ac:spMkLst>
        </pc:spChg>
        <pc:spChg chg="mod">
          <ac:chgData name="Soleil Yi" userId="c719b956-004a-4243-81dc-14be649b7814" providerId="ADAL" clId="{EEF9B19D-84A0-4A29-9D4A-2810893511CE}" dt="2022-09-13T09:46:15.783" v="607" actId="947"/>
          <ac:spMkLst>
            <pc:docMk/>
            <pc:sldMk cId="1304984164" sldId="272"/>
            <ac:spMk id="10" creationId="{3D2CBEB4-B6CC-48A5-894B-95424BAA1C0A}"/>
          </ac:spMkLst>
        </pc:spChg>
        <pc:spChg chg="mod">
          <ac:chgData name="Soleil Yi" userId="c719b956-004a-4243-81dc-14be649b7814" providerId="ADAL" clId="{EEF9B19D-84A0-4A29-9D4A-2810893511CE}" dt="2022-09-13T09:46:15.795" v="611" actId="947"/>
          <ac:spMkLst>
            <pc:docMk/>
            <pc:sldMk cId="1304984164" sldId="272"/>
            <ac:spMk id="11" creationId="{760E036E-495A-44F1-A9E7-A24AB7377FA7}"/>
          </ac:spMkLst>
        </pc:spChg>
        <pc:spChg chg="mod">
          <ac:chgData name="Soleil Yi" userId="c719b956-004a-4243-81dc-14be649b7814" providerId="ADAL" clId="{EEF9B19D-84A0-4A29-9D4A-2810893511CE}" dt="2022-09-13T09:46:15.808" v="615" actId="947"/>
          <ac:spMkLst>
            <pc:docMk/>
            <pc:sldMk cId="1304984164" sldId="272"/>
            <ac:spMk id="12" creationId="{A67DB6C3-891E-42BE-8BA4-D1AA1A433849}"/>
          </ac:spMkLst>
        </pc:spChg>
        <pc:spChg chg="mod">
          <ac:chgData name="Soleil Yi" userId="c719b956-004a-4243-81dc-14be649b7814" providerId="ADAL" clId="{EEF9B19D-84A0-4A29-9D4A-2810893511CE}" dt="2022-09-13T09:46:15.821" v="619" actId="947"/>
          <ac:spMkLst>
            <pc:docMk/>
            <pc:sldMk cId="1304984164" sldId="272"/>
            <ac:spMk id="13" creationId="{364268DF-69C2-45F2-8DE0-E4FA12AC2265}"/>
          </ac:spMkLst>
        </pc:spChg>
        <pc:spChg chg="mod">
          <ac:chgData name="Soleil Yi" userId="c719b956-004a-4243-81dc-14be649b7814" providerId="ADAL" clId="{EEF9B19D-84A0-4A29-9D4A-2810893511CE}" dt="2022-09-13T09:46:15.834" v="623" actId="947"/>
          <ac:spMkLst>
            <pc:docMk/>
            <pc:sldMk cId="1304984164" sldId="272"/>
            <ac:spMk id="14" creationId="{297A9562-5E78-44D6-B095-57434BEA9BF1}"/>
          </ac:spMkLst>
        </pc:spChg>
        <pc:spChg chg="mod">
          <ac:chgData name="Soleil Yi" userId="c719b956-004a-4243-81dc-14be649b7814" providerId="ADAL" clId="{EEF9B19D-84A0-4A29-9D4A-2810893511CE}" dt="2022-09-13T09:46:15.848" v="627" actId="947"/>
          <ac:spMkLst>
            <pc:docMk/>
            <pc:sldMk cId="1304984164" sldId="272"/>
            <ac:spMk id="15" creationId="{2A2A6A43-4689-4374-874A-2E43908A79A5}"/>
          </ac:spMkLst>
        </pc:spChg>
        <pc:spChg chg="mod">
          <ac:chgData name="Soleil Yi" userId="c719b956-004a-4243-81dc-14be649b7814" providerId="ADAL" clId="{EEF9B19D-84A0-4A29-9D4A-2810893511CE}" dt="2022-09-13T09:46:15.861" v="631" actId="947"/>
          <ac:spMkLst>
            <pc:docMk/>
            <pc:sldMk cId="1304984164" sldId="272"/>
            <ac:spMk id="16" creationId="{526AEA5D-FB7D-4A97-B04B-2B55E0EF34F1}"/>
          </ac:spMkLst>
        </pc:spChg>
        <pc:spChg chg="mod">
          <ac:chgData name="Soleil Yi" userId="c719b956-004a-4243-81dc-14be649b7814" providerId="ADAL" clId="{EEF9B19D-84A0-4A29-9D4A-2810893511CE}" dt="2022-09-13T09:46:15.874" v="635" actId="947"/>
          <ac:spMkLst>
            <pc:docMk/>
            <pc:sldMk cId="1304984164" sldId="272"/>
            <ac:spMk id="17" creationId="{05E00AB2-F898-4752-84C9-C840C15AB784}"/>
          </ac:spMkLst>
        </pc:spChg>
        <pc:spChg chg="mod">
          <ac:chgData name="Soleil Yi" userId="c719b956-004a-4243-81dc-14be649b7814" providerId="ADAL" clId="{EEF9B19D-84A0-4A29-9D4A-2810893511CE}" dt="2022-09-13T09:46:15.886" v="639" actId="947"/>
          <ac:spMkLst>
            <pc:docMk/>
            <pc:sldMk cId="1304984164" sldId="272"/>
            <ac:spMk id="18" creationId="{51F7C261-1E82-4BCB-A1DD-593EE6B74C22}"/>
          </ac:spMkLst>
        </pc:spChg>
        <pc:spChg chg="mod">
          <ac:chgData name="Soleil Yi" userId="c719b956-004a-4243-81dc-14be649b7814" providerId="ADAL" clId="{EEF9B19D-84A0-4A29-9D4A-2810893511CE}" dt="2022-09-13T09:46:15.900" v="643" actId="947"/>
          <ac:spMkLst>
            <pc:docMk/>
            <pc:sldMk cId="1304984164" sldId="272"/>
            <ac:spMk id="19" creationId="{1893A705-F307-4DAA-AA34-D1444593A926}"/>
          </ac:spMkLst>
        </pc:spChg>
        <pc:spChg chg="mod">
          <ac:chgData name="Soleil Yi" userId="c719b956-004a-4243-81dc-14be649b7814" providerId="ADAL" clId="{EEF9B19D-84A0-4A29-9D4A-2810893511CE}" dt="2022-09-13T09:46:15.939" v="655" actId="947"/>
          <ac:spMkLst>
            <pc:docMk/>
            <pc:sldMk cId="1304984164" sldId="272"/>
            <ac:spMk id="22" creationId="{A28985C3-31E8-4822-A538-57C565D5CDA8}"/>
          </ac:spMkLst>
        </pc:spChg>
        <pc:spChg chg="mod">
          <ac:chgData name="Soleil Yi" userId="c719b956-004a-4243-81dc-14be649b7814" providerId="ADAL" clId="{EEF9B19D-84A0-4A29-9D4A-2810893511CE}" dt="2022-09-13T09:46:15.952" v="659" actId="947"/>
          <ac:spMkLst>
            <pc:docMk/>
            <pc:sldMk cId="1304984164" sldId="272"/>
            <ac:spMk id="23" creationId="{E083D102-4F6C-4A84-A563-132BAF3C10AC}"/>
          </ac:spMkLst>
        </pc:spChg>
        <pc:spChg chg="mod">
          <ac:chgData name="Soleil Yi" userId="c719b956-004a-4243-81dc-14be649b7814" providerId="ADAL" clId="{EEF9B19D-84A0-4A29-9D4A-2810893511CE}" dt="2022-09-13T09:46:15.914" v="647" actId="947"/>
          <ac:spMkLst>
            <pc:docMk/>
            <pc:sldMk cId="1304984164" sldId="272"/>
            <ac:spMk id="24" creationId="{F411F893-7535-41C8-BBB8-B2FE3DC9FDCC}"/>
          </ac:spMkLst>
        </pc:spChg>
        <pc:spChg chg="mod">
          <ac:chgData name="Soleil Yi" userId="c719b956-004a-4243-81dc-14be649b7814" providerId="ADAL" clId="{EEF9B19D-84A0-4A29-9D4A-2810893511CE}" dt="2022-09-13T09:46:15.926" v="651" actId="947"/>
          <ac:spMkLst>
            <pc:docMk/>
            <pc:sldMk cId="1304984164" sldId="272"/>
            <ac:spMk id="25" creationId="{3C0C88B5-74E7-4AC9-AE5F-521A9B0D2E32}"/>
          </ac:spMkLst>
        </pc:spChg>
        <pc:spChg chg="mod">
          <ac:chgData name="Soleil Yi" userId="c719b956-004a-4243-81dc-14be649b7814" providerId="ADAL" clId="{EEF9B19D-84A0-4A29-9D4A-2810893511CE}" dt="2022-09-13T09:46:15.700" v="585" actId="947"/>
          <ac:spMkLst>
            <pc:docMk/>
            <pc:sldMk cId="1304984164" sldId="272"/>
            <ac:spMk id="26" creationId="{2F5D4478-85D1-42F6-9F84-6CF396778DFC}"/>
          </ac:spMkLst>
        </pc:spChg>
        <pc:spChg chg="mod">
          <ac:chgData name="Soleil Yi" userId="c719b956-004a-4243-81dc-14be649b7814" providerId="ADAL" clId="{EEF9B19D-84A0-4A29-9D4A-2810893511CE}" dt="2022-09-13T09:46:15.719" v="591" actId="947"/>
          <ac:spMkLst>
            <pc:docMk/>
            <pc:sldMk cId="1304984164" sldId="272"/>
            <ac:spMk id="27" creationId="{46B7D336-D30F-4792-B2A1-7BB1C928A543}"/>
          </ac:spMkLst>
        </pc:spChg>
      </pc:sldChg>
      <pc:sldChg chg="modSp mod">
        <pc:chgData name="Soleil Yi" userId="c719b956-004a-4243-81dc-14be649b7814" providerId="ADAL" clId="{EEF9B19D-84A0-4A29-9D4A-2810893511CE}" dt="2022-09-13T09:46:16.899" v="779" actId="947"/>
        <pc:sldMkLst>
          <pc:docMk/>
          <pc:sldMk cId="4067857322" sldId="273"/>
        </pc:sldMkLst>
        <pc:spChg chg="mod">
          <ac:chgData name="Soleil Yi" userId="c719b956-004a-4243-81dc-14be649b7814" providerId="ADAL" clId="{EEF9B19D-84A0-4A29-9D4A-2810893511CE}" dt="2022-09-13T09:46:15.981" v="663" actId="947"/>
          <ac:spMkLst>
            <pc:docMk/>
            <pc:sldMk cId="4067857322" sldId="273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6.043" v="674" actId="947"/>
          <ac:spMkLst>
            <pc:docMk/>
            <pc:sldMk cId="4067857322" sldId="273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6.048" v="675" actId="947"/>
          <ac:spMkLst>
            <pc:docMk/>
            <pc:sldMk cId="4067857322" sldId="273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6.041" v="673" actId="947"/>
          <ac:spMkLst>
            <pc:docMk/>
            <pc:sldMk cId="4067857322" sldId="273"/>
            <ac:spMk id="6" creationId="{70E84DE8-C4A7-4BEC-A326-6589633669FB}"/>
          </ac:spMkLst>
        </pc:spChg>
        <pc:spChg chg="mod">
          <ac:chgData name="Soleil Yi" userId="c719b956-004a-4243-81dc-14be649b7814" providerId="ADAL" clId="{EEF9B19D-84A0-4A29-9D4A-2810893511CE}" dt="2022-09-13T09:46:16.072" v="679" actId="947"/>
          <ac:spMkLst>
            <pc:docMk/>
            <pc:sldMk cId="4067857322" sldId="273"/>
            <ac:spMk id="7" creationId="{06FB6006-203B-44B5-90E8-C0A9F3BC2514}"/>
          </ac:spMkLst>
        </pc:spChg>
        <pc:spChg chg="mod">
          <ac:chgData name="Soleil Yi" userId="c719b956-004a-4243-81dc-14be649b7814" providerId="ADAL" clId="{EEF9B19D-84A0-4A29-9D4A-2810893511CE}" dt="2022-09-13T09:46:16.099" v="683" actId="947"/>
          <ac:spMkLst>
            <pc:docMk/>
            <pc:sldMk cId="4067857322" sldId="273"/>
            <ac:spMk id="8" creationId="{D95E8720-CA27-4DAF-959D-8A6301CA13A9}"/>
          </ac:spMkLst>
        </pc:spChg>
        <pc:spChg chg="mod">
          <ac:chgData name="Soleil Yi" userId="c719b956-004a-4243-81dc-14be649b7814" providerId="ADAL" clId="{EEF9B19D-84A0-4A29-9D4A-2810893511CE}" dt="2022-09-13T09:46:16.125" v="687" actId="947"/>
          <ac:spMkLst>
            <pc:docMk/>
            <pc:sldMk cId="4067857322" sldId="273"/>
            <ac:spMk id="9" creationId="{105A9350-C2AC-4EE3-BB8E-2DEB522A9BDF}"/>
          </ac:spMkLst>
        </pc:spChg>
        <pc:spChg chg="mod">
          <ac:chgData name="Soleil Yi" userId="c719b956-004a-4243-81dc-14be649b7814" providerId="ADAL" clId="{EEF9B19D-84A0-4A29-9D4A-2810893511CE}" dt="2022-09-13T09:46:16.153" v="691" actId="947"/>
          <ac:spMkLst>
            <pc:docMk/>
            <pc:sldMk cId="4067857322" sldId="273"/>
            <ac:spMk id="10" creationId="{2D07C02A-3C45-4BB6-B101-F498924D8D6A}"/>
          </ac:spMkLst>
        </pc:spChg>
        <pc:spChg chg="mod">
          <ac:chgData name="Soleil Yi" userId="c719b956-004a-4243-81dc-14be649b7814" providerId="ADAL" clId="{EEF9B19D-84A0-4A29-9D4A-2810893511CE}" dt="2022-09-13T09:46:16.185" v="695" actId="947"/>
          <ac:spMkLst>
            <pc:docMk/>
            <pc:sldMk cId="4067857322" sldId="273"/>
            <ac:spMk id="11" creationId="{5FCF8155-06CA-4ECB-A805-ADA540C7CB35}"/>
          </ac:spMkLst>
        </pc:spChg>
        <pc:spChg chg="mod">
          <ac:chgData name="Soleil Yi" userId="c719b956-004a-4243-81dc-14be649b7814" providerId="ADAL" clId="{EEF9B19D-84A0-4A29-9D4A-2810893511CE}" dt="2022-09-13T09:46:16.220" v="699" actId="947"/>
          <ac:spMkLst>
            <pc:docMk/>
            <pc:sldMk cId="4067857322" sldId="273"/>
            <ac:spMk id="12" creationId="{DFA7B336-74C3-441A-AC9B-2CD6CBED4846}"/>
          </ac:spMkLst>
        </pc:spChg>
        <pc:spChg chg="mod">
          <ac:chgData name="Soleil Yi" userId="c719b956-004a-4243-81dc-14be649b7814" providerId="ADAL" clId="{EEF9B19D-84A0-4A29-9D4A-2810893511CE}" dt="2022-09-13T09:46:16.257" v="703" actId="947"/>
          <ac:spMkLst>
            <pc:docMk/>
            <pc:sldMk cId="4067857322" sldId="273"/>
            <ac:spMk id="13" creationId="{FAA4D18C-345D-49AE-A2F1-AF72937EC73A}"/>
          </ac:spMkLst>
        </pc:spChg>
        <pc:spChg chg="mod">
          <ac:chgData name="Soleil Yi" userId="c719b956-004a-4243-81dc-14be649b7814" providerId="ADAL" clId="{EEF9B19D-84A0-4A29-9D4A-2810893511CE}" dt="2022-09-13T09:46:16.293" v="707" actId="947"/>
          <ac:spMkLst>
            <pc:docMk/>
            <pc:sldMk cId="4067857322" sldId="273"/>
            <ac:spMk id="14" creationId="{83C900DD-A09C-45A0-9639-9B86C57F912F}"/>
          </ac:spMkLst>
        </pc:spChg>
        <pc:spChg chg="mod">
          <ac:chgData name="Soleil Yi" userId="c719b956-004a-4243-81dc-14be649b7814" providerId="ADAL" clId="{EEF9B19D-84A0-4A29-9D4A-2810893511CE}" dt="2022-09-13T09:46:16.328" v="711" actId="947"/>
          <ac:spMkLst>
            <pc:docMk/>
            <pc:sldMk cId="4067857322" sldId="273"/>
            <ac:spMk id="15" creationId="{BB303FCF-358A-44DF-AB46-82B9C3C03C27}"/>
          </ac:spMkLst>
        </pc:spChg>
        <pc:spChg chg="mod">
          <ac:chgData name="Soleil Yi" userId="c719b956-004a-4243-81dc-14be649b7814" providerId="ADAL" clId="{EEF9B19D-84A0-4A29-9D4A-2810893511CE}" dt="2022-09-13T09:46:16.363" v="715" actId="947"/>
          <ac:spMkLst>
            <pc:docMk/>
            <pc:sldMk cId="4067857322" sldId="273"/>
            <ac:spMk id="16" creationId="{6A628BDE-287C-4D1A-A352-9DE32CBEAB10}"/>
          </ac:spMkLst>
        </pc:spChg>
        <pc:spChg chg="mod">
          <ac:chgData name="Soleil Yi" userId="c719b956-004a-4243-81dc-14be649b7814" providerId="ADAL" clId="{EEF9B19D-84A0-4A29-9D4A-2810893511CE}" dt="2022-09-13T09:46:16.396" v="719" actId="947"/>
          <ac:spMkLst>
            <pc:docMk/>
            <pc:sldMk cId="4067857322" sldId="273"/>
            <ac:spMk id="17" creationId="{A8C332F2-C55A-451D-AC51-C834AEF45F95}"/>
          </ac:spMkLst>
        </pc:spChg>
        <pc:spChg chg="mod">
          <ac:chgData name="Soleil Yi" userId="c719b956-004a-4243-81dc-14be649b7814" providerId="ADAL" clId="{EEF9B19D-84A0-4A29-9D4A-2810893511CE}" dt="2022-09-13T09:46:16.429" v="723" actId="947"/>
          <ac:spMkLst>
            <pc:docMk/>
            <pc:sldMk cId="4067857322" sldId="273"/>
            <ac:spMk id="18" creationId="{8995A771-8B8C-40F1-9325-FF5C9660AF4F}"/>
          </ac:spMkLst>
        </pc:spChg>
        <pc:spChg chg="mod">
          <ac:chgData name="Soleil Yi" userId="c719b956-004a-4243-81dc-14be649b7814" providerId="ADAL" clId="{EEF9B19D-84A0-4A29-9D4A-2810893511CE}" dt="2022-09-13T09:46:16.748" v="759" actId="947"/>
          <ac:spMkLst>
            <pc:docMk/>
            <pc:sldMk cId="4067857322" sldId="273"/>
            <ac:spMk id="23" creationId="{A29941AA-6515-4043-BB19-354F9670064F}"/>
          </ac:spMkLst>
        </pc:spChg>
        <pc:spChg chg="mod">
          <ac:chgData name="Soleil Yi" userId="c719b956-004a-4243-81dc-14be649b7814" providerId="ADAL" clId="{EEF9B19D-84A0-4A29-9D4A-2810893511CE}" dt="2022-09-13T09:46:16.786" v="763" actId="947"/>
          <ac:spMkLst>
            <pc:docMk/>
            <pc:sldMk cId="4067857322" sldId="273"/>
            <ac:spMk id="24" creationId="{6E5D0B7E-28E8-45CF-9493-BFD4BE1F948C}"/>
          </ac:spMkLst>
        </pc:spChg>
        <pc:spChg chg="mod">
          <ac:chgData name="Soleil Yi" userId="c719b956-004a-4243-81dc-14be649b7814" providerId="ADAL" clId="{EEF9B19D-84A0-4A29-9D4A-2810893511CE}" dt="2022-09-13T09:46:16.816" v="767" actId="947"/>
          <ac:spMkLst>
            <pc:docMk/>
            <pc:sldMk cId="4067857322" sldId="273"/>
            <ac:spMk id="25" creationId="{656877A4-8D62-48B5-AE35-6472E7A65356}"/>
          </ac:spMkLst>
        </pc:spChg>
        <pc:spChg chg="mod">
          <ac:chgData name="Soleil Yi" userId="c719b956-004a-4243-81dc-14be649b7814" providerId="ADAL" clId="{EEF9B19D-84A0-4A29-9D4A-2810893511CE}" dt="2022-09-13T09:46:16.845" v="771" actId="947"/>
          <ac:spMkLst>
            <pc:docMk/>
            <pc:sldMk cId="4067857322" sldId="273"/>
            <ac:spMk id="26" creationId="{AEB888CC-C56E-4653-BE4F-19F13B30E8F0}"/>
          </ac:spMkLst>
        </pc:spChg>
        <pc:spChg chg="mod">
          <ac:chgData name="Soleil Yi" userId="c719b956-004a-4243-81dc-14be649b7814" providerId="ADAL" clId="{EEF9B19D-84A0-4A29-9D4A-2810893511CE}" dt="2022-09-13T09:46:16.872" v="775" actId="947"/>
          <ac:spMkLst>
            <pc:docMk/>
            <pc:sldMk cId="4067857322" sldId="273"/>
            <ac:spMk id="27" creationId="{CB043247-2274-4954-AEDB-0A4796803F81}"/>
          </ac:spMkLst>
        </pc:spChg>
        <pc:spChg chg="mod">
          <ac:chgData name="Soleil Yi" userId="c719b956-004a-4243-81dc-14be649b7814" providerId="ADAL" clId="{EEF9B19D-84A0-4A29-9D4A-2810893511CE}" dt="2022-09-13T09:46:16.899" v="779" actId="947"/>
          <ac:spMkLst>
            <pc:docMk/>
            <pc:sldMk cId="4067857322" sldId="273"/>
            <ac:spMk id="28" creationId="{47F89888-3F64-41DB-B1E1-BA4A4969A06F}"/>
          </ac:spMkLst>
        </pc:spChg>
        <pc:spChg chg="mod">
          <ac:chgData name="Soleil Yi" userId="c719b956-004a-4243-81dc-14be649b7814" providerId="ADAL" clId="{EEF9B19D-84A0-4A29-9D4A-2810893511CE}" dt="2022-09-13T09:46:16.673" v="751" actId="947"/>
          <ac:spMkLst>
            <pc:docMk/>
            <pc:sldMk cId="4067857322" sldId="273"/>
            <ac:spMk id="29" creationId="{8FA23C8B-84B2-4714-9B31-FAD750B15BA7}"/>
          </ac:spMkLst>
        </pc:spChg>
        <pc:spChg chg="mod">
          <ac:chgData name="Soleil Yi" userId="c719b956-004a-4243-81dc-14be649b7814" providerId="ADAL" clId="{EEF9B19D-84A0-4A29-9D4A-2810893511CE}" dt="2022-09-13T09:46:16.713" v="755" actId="947"/>
          <ac:spMkLst>
            <pc:docMk/>
            <pc:sldMk cId="4067857322" sldId="273"/>
            <ac:spMk id="30" creationId="{69EBC1F7-632D-475B-9837-CF217C54C568}"/>
          </ac:spMkLst>
        </pc:spChg>
        <pc:spChg chg="mod">
          <ac:chgData name="Soleil Yi" userId="c719b956-004a-4243-81dc-14be649b7814" providerId="ADAL" clId="{EEF9B19D-84A0-4A29-9D4A-2810893511CE}" dt="2022-09-13T09:46:16.594" v="743" actId="947"/>
          <ac:spMkLst>
            <pc:docMk/>
            <pc:sldMk cId="4067857322" sldId="273"/>
            <ac:spMk id="31" creationId="{4807AA2D-FD6D-46AE-A96F-F38C1F7E9348}"/>
          </ac:spMkLst>
        </pc:spChg>
        <pc:spChg chg="mod">
          <ac:chgData name="Soleil Yi" userId="c719b956-004a-4243-81dc-14be649b7814" providerId="ADAL" clId="{EEF9B19D-84A0-4A29-9D4A-2810893511CE}" dt="2022-09-13T09:46:16.636" v="747" actId="947"/>
          <ac:spMkLst>
            <pc:docMk/>
            <pc:sldMk cId="4067857322" sldId="273"/>
            <ac:spMk id="32" creationId="{F20E06A0-7E26-4B85-A358-43EE39422AC9}"/>
          </ac:spMkLst>
        </pc:spChg>
        <pc:spChg chg="mod">
          <ac:chgData name="Soleil Yi" userId="c719b956-004a-4243-81dc-14be649b7814" providerId="ADAL" clId="{EEF9B19D-84A0-4A29-9D4A-2810893511CE}" dt="2022-09-13T09:46:16.528" v="735" actId="947"/>
          <ac:spMkLst>
            <pc:docMk/>
            <pc:sldMk cId="4067857322" sldId="273"/>
            <ac:spMk id="33" creationId="{0335821E-E562-4D86-975E-1275C3BAA161}"/>
          </ac:spMkLst>
        </pc:spChg>
        <pc:spChg chg="mod">
          <ac:chgData name="Soleil Yi" userId="c719b956-004a-4243-81dc-14be649b7814" providerId="ADAL" clId="{EEF9B19D-84A0-4A29-9D4A-2810893511CE}" dt="2022-09-13T09:46:16.561" v="739" actId="947"/>
          <ac:spMkLst>
            <pc:docMk/>
            <pc:sldMk cId="4067857322" sldId="273"/>
            <ac:spMk id="34" creationId="{2F4BE82D-8386-477D-B526-5B5A0779B978}"/>
          </ac:spMkLst>
        </pc:spChg>
        <pc:spChg chg="mod">
          <ac:chgData name="Soleil Yi" userId="c719b956-004a-4243-81dc-14be649b7814" providerId="ADAL" clId="{EEF9B19D-84A0-4A29-9D4A-2810893511CE}" dt="2022-09-13T09:46:16.462" v="727" actId="947"/>
          <ac:spMkLst>
            <pc:docMk/>
            <pc:sldMk cId="4067857322" sldId="273"/>
            <ac:spMk id="35" creationId="{FCD123D0-1566-4785-A15A-C20453E8D7A8}"/>
          </ac:spMkLst>
        </pc:spChg>
        <pc:spChg chg="mod">
          <ac:chgData name="Soleil Yi" userId="c719b956-004a-4243-81dc-14be649b7814" providerId="ADAL" clId="{EEF9B19D-84A0-4A29-9D4A-2810893511CE}" dt="2022-09-13T09:46:16.494" v="731" actId="947"/>
          <ac:spMkLst>
            <pc:docMk/>
            <pc:sldMk cId="4067857322" sldId="273"/>
            <ac:spMk id="36" creationId="{727FBAC7-0A5B-4867-8A91-E8526322FFFE}"/>
          </ac:spMkLst>
        </pc:spChg>
      </pc:sldChg>
      <pc:sldChg chg="modSp mod">
        <pc:chgData name="Soleil Yi" userId="c719b956-004a-4243-81dc-14be649b7814" providerId="ADAL" clId="{EEF9B19D-84A0-4A29-9D4A-2810893511CE}" dt="2022-09-13T09:46:17.397" v="839" actId="947"/>
        <pc:sldMkLst>
          <pc:docMk/>
          <pc:sldMk cId="3921529244" sldId="274"/>
        </pc:sldMkLst>
        <pc:spChg chg="mod">
          <ac:chgData name="Soleil Yi" userId="c719b956-004a-4243-81dc-14be649b7814" providerId="ADAL" clId="{EEF9B19D-84A0-4A29-9D4A-2810893511CE}" dt="2022-09-13T09:46:16.919" v="783" actId="947"/>
          <ac:spMkLst>
            <pc:docMk/>
            <pc:sldMk cId="3921529244" sldId="274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6.987" v="795" actId="947"/>
          <ac:spMkLst>
            <pc:docMk/>
            <pc:sldMk cId="3921529244" sldId="274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6.982" v="794" actId="947"/>
          <ac:spMkLst>
            <pc:docMk/>
            <pc:sldMk cId="3921529244" sldId="274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7.355" v="835" actId="947"/>
          <ac:spMkLst>
            <pc:docMk/>
            <pc:sldMk cId="3921529244" sldId="274"/>
            <ac:spMk id="10" creationId="{6B4C8EFA-AE13-43DF-87EF-19070F40DB47}"/>
          </ac:spMkLst>
        </pc:spChg>
        <pc:spChg chg="mod">
          <ac:chgData name="Soleil Yi" userId="c719b956-004a-4243-81dc-14be649b7814" providerId="ADAL" clId="{EEF9B19D-84A0-4A29-9D4A-2810893511CE}" dt="2022-09-13T09:46:17.397" v="839" actId="947"/>
          <ac:spMkLst>
            <pc:docMk/>
            <pc:sldMk cId="3921529244" sldId="274"/>
            <ac:spMk id="11" creationId="{28D87A01-EBC8-41C1-9C9B-E43F3DDD69BE}"/>
          </ac:spMkLst>
        </pc:spChg>
        <pc:spChg chg="mod">
          <ac:chgData name="Soleil Yi" userId="c719b956-004a-4243-81dc-14be649b7814" providerId="ADAL" clId="{EEF9B19D-84A0-4A29-9D4A-2810893511CE}" dt="2022-09-13T09:46:17.282" v="827" actId="947"/>
          <ac:spMkLst>
            <pc:docMk/>
            <pc:sldMk cId="3921529244" sldId="274"/>
            <ac:spMk id="14" creationId="{6B4C8EFA-AE13-43DF-87EF-19070F40DB47}"/>
          </ac:spMkLst>
        </pc:spChg>
        <pc:spChg chg="mod">
          <ac:chgData name="Soleil Yi" userId="c719b956-004a-4243-81dc-14be649b7814" providerId="ADAL" clId="{EEF9B19D-84A0-4A29-9D4A-2810893511CE}" dt="2022-09-13T09:46:17.318" v="831" actId="947"/>
          <ac:spMkLst>
            <pc:docMk/>
            <pc:sldMk cId="3921529244" sldId="274"/>
            <ac:spMk id="15" creationId="{28D87A01-EBC8-41C1-9C9B-E43F3DDD69BE}"/>
          </ac:spMkLst>
        </pc:spChg>
        <pc:spChg chg="mod">
          <ac:chgData name="Soleil Yi" userId="c719b956-004a-4243-81dc-14be649b7814" providerId="ADAL" clId="{EEF9B19D-84A0-4A29-9D4A-2810893511CE}" dt="2022-09-13T09:46:17.191" v="819" actId="947"/>
          <ac:spMkLst>
            <pc:docMk/>
            <pc:sldMk cId="3921529244" sldId="274"/>
            <ac:spMk id="16" creationId="{6B4C8EFA-AE13-43DF-87EF-19070F40DB47}"/>
          </ac:spMkLst>
        </pc:spChg>
        <pc:spChg chg="mod">
          <ac:chgData name="Soleil Yi" userId="c719b956-004a-4243-81dc-14be649b7814" providerId="ADAL" clId="{EEF9B19D-84A0-4A29-9D4A-2810893511CE}" dt="2022-09-13T09:46:17.250" v="823" actId="947"/>
          <ac:spMkLst>
            <pc:docMk/>
            <pc:sldMk cId="3921529244" sldId="274"/>
            <ac:spMk id="17" creationId="{28D87A01-EBC8-41C1-9C9B-E43F3DDD69BE}"/>
          </ac:spMkLst>
        </pc:spChg>
        <pc:spChg chg="mod">
          <ac:chgData name="Soleil Yi" userId="c719b956-004a-4243-81dc-14be649b7814" providerId="ADAL" clId="{EEF9B19D-84A0-4A29-9D4A-2810893511CE}" dt="2022-09-13T09:46:16.978" v="792" actId="947"/>
          <ac:spMkLst>
            <pc:docMk/>
            <pc:sldMk cId="3921529244" sldId="274"/>
            <ac:spMk id="18" creationId="{42A74274-893B-4F91-BE3F-3932F4746D3F}"/>
          </ac:spMkLst>
        </pc:spChg>
        <pc:spChg chg="mod">
          <ac:chgData name="Soleil Yi" userId="c719b956-004a-4243-81dc-14be649b7814" providerId="ADAL" clId="{EEF9B19D-84A0-4A29-9D4A-2810893511CE}" dt="2022-09-13T09:46:17.027" v="799" actId="947"/>
          <ac:spMkLst>
            <pc:docMk/>
            <pc:sldMk cId="3921529244" sldId="274"/>
            <ac:spMk id="19" creationId="{72A3D715-A426-4630-AC7B-865CF0245C7B}"/>
          </ac:spMkLst>
        </pc:spChg>
        <pc:spChg chg="mod">
          <ac:chgData name="Soleil Yi" userId="c719b956-004a-4243-81dc-14be649b7814" providerId="ADAL" clId="{EEF9B19D-84A0-4A29-9D4A-2810893511CE}" dt="2022-09-13T09:46:17.059" v="803" actId="947"/>
          <ac:spMkLst>
            <pc:docMk/>
            <pc:sldMk cId="3921529244" sldId="274"/>
            <ac:spMk id="20" creationId="{89FD79DB-5F1A-4C76-8413-542C42D4E06F}"/>
          </ac:spMkLst>
        </pc:spChg>
        <pc:spChg chg="mod">
          <ac:chgData name="Soleil Yi" userId="c719b956-004a-4243-81dc-14be649b7814" providerId="ADAL" clId="{EEF9B19D-84A0-4A29-9D4A-2810893511CE}" dt="2022-09-13T09:46:17.093" v="807" actId="947"/>
          <ac:spMkLst>
            <pc:docMk/>
            <pc:sldMk cId="3921529244" sldId="274"/>
            <ac:spMk id="21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7.123" v="811" actId="947"/>
          <ac:spMkLst>
            <pc:docMk/>
            <pc:sldMk cId="3921529244" sldId="274"/>
            <ac:spMk id="2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7.150" v="815" actId="947"/>
          <ac:spMkLst>
            <pc:docMk/>
            <pc:sldMk cId="3921529244" sldId="274"/>
            <ac:spMk id="23" creationId="{00000000-0000-0000-0000-000000000000}"/>
          </ac:spMkLst>
        </pc:spChg>
      </pc:sldChg>
      <pc:sldChg chg="modSp mod">
        <pc:chgData name="Soleil Yi" userId="c719b956-004a-4243-81dc-14be649b7814" providerId="ADAL" clId="{EEF9B19D-84A0-4A29-9D4A-2810893511CE}" dt="2022-09-13T09:46:18.833" v="1019" actId="947"/>
        <pc:sldMkLst>
          <pc:docMk/>
          <pc:sldMk cId="305472364" sldId="275"/>
        </pc:sldMkLst>
        <pc:spChg chg="mod">
          <ac:chgData name="Soleil Yi" userId="c719b956-004a-4243-81dc-14be649b7814" providerId="ADAL" clId="{EEF9B19D-84A0-4A29-9D4A-2810893511CE}" dt="2022-09-13T09:46:17.426" v="843" actId="947"/>
          <ac:spMkLst>
            <pc:docMk/>
            <pc:sldMk cId="305472364" sldId="275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7.495" v="855" actId="947"/>
          <ac:spMkLst>
            <pc:docMk/>
            <pc:sldMk cId="305472364" sldId="275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7.492" v="854" actId="947"/>
          <ac:spMkLst>
            <pc:docMk/>
            <pc:sldMk cId="305472364" sldId="275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7.486" v="852" actId="947"/>
          <ac:spMkLst>
            <pc:docMk/>
            <pc:sldMk cId="305472364" sldId="275"/>
            <ac:spMk id="6" creationId="{DAFDAB97-5D5C-4AAF-92C9-1135B7C349C8}"/>
          </ac:spMkLst>
        </pc:spChg>
        <pc:spChg chg="mod">
          <ac:chgData name="Soleil Yi" userId="c719b956-004a-4243-81dc-14be649b7814" providerId="ADAL" clId="{EEF9B19D-84A0-4A29-9D4A-2810893511CE}" dt="2022-09-13T09:46:17.520" v="859" actId="947"/>
          <ac:spMkLst>
            <pc:docMk/>
            <pc:sldMk cId="305472364" sldId="275"/>
            <ac:spMk id="7" creationId="{459C3255-6092-4814-9E42-C93316974798}"/>
          </ac:spMkLst>
        </pc:spChg>
        <pc:spChg chg="mod">
          <ac:chgData name="Soleil Yi" userId="c719b956-004a-4243-81dc-14be649b7814" providerId="ADAL" clId="{EEF9B19D-84A0-4A29-9D4A-2810893511CE}" dt="2022-09-13T09:46:17.548" v="863" actId="947"/>
          <ac:spMkLst>
            <pc:docMk/>
            <pc:sldMk cId="305472364" sldId="275"/>
            <ac:spMk id="8" creationId="{59A18696-FFD6-423F-AF50-1AEADE2A6902}"/>
          </ac:spMkLst>
        </pc:spChg>
        <pc:spChg chg="mod">
          <ac:chgData name="Soleil Yi" userId="c719b956-004a-4243-81dc-14be649b7814" providerId="ADAL" clId="{EEF9B19D-84A0-4A29-9D4A-2810893511CE}" dt="2022-09-13T09:46:17.574" v="867" actId="947"/>
          <ac:spMkLst>
            <pc:docMk/>
            <pc:sldMk cId="305472364" sldId="275"/>
            <ac:spMk id="9" creationId="{D6D04A76-5439-4DC4-98AF-D3ADEEB12715}"/>
          </ac:spMkLst>
        </pc:spChg>
        <pc:spChg chg="mod">
          <ac:chgData name="Soleil Yi" userId="c719b956-004a-4243-81dc-14be649b7814" providerId="ADAL" clId="{EEF9B19D-84A0-4A29-9D4A-2810893511CE}" dt="2022-09-13T09:46:18.149" v="935" actId="947"/>
          <ac:spMkLst>
            <pc:docMk/>
            <pc:sldMk cId="305472364" sldId="275"/>
            <ac:spMk id="12" creationId="{D53A699D-3375-4429-9920-CE227947B553}"/>
          </ac:spMkLst>
        </pc:spChg>
        <pc:spChg chg="mod">
          <ac:chgData name="Soleil Yi" userId="c719b956-004a-4243-81dc-14be649b7814" providerId="ADAL" clId="{EEF9B19D-84A0-4A29-9D4A-2810893511CE}" dt="2022-09-13T09:46:18.179" v="939" actId="947"/>
          <ac:spMkLst>
            <pc:docMk/>
            <pc:sldMk cId="305472364" sldId="275"/>
            <ac:spMk id="13" creationId="{E068CF3E-2BFF-4A8E-ACE6-430B6EF232BE}"/>
          </ac:spMkLst>
        </pc:spChg>
        <pc:spChg chg="mod">
          <ac:chgData name="Soleil Yi" userId="c719b956-004a-4243-81dc-14be649b7814" providerId="ADAL" clId="{EEF9B19D-84A0-4A29-9D4A-2810893511CE}" dt="2022-09-13T09:46:18.803" v="1015" actId="947"/>
          <ac:spMkLst>
            <pc:docMk/>
            <pc:sldMk cId="305472364" sldId="275"/>
            <ac:spMk id="22" creationId="{2EED402C-16AC-4308-8F43-8ED45EFA20CA}"/>
          </ac:spMkLst>
        </pc:spChg>
        <pc:spChg chg="mod">
          <ac:chgData name="Soleil Yi" userId="c719b956-004a-4243-81dc-14be649b7814" providerId="ADAL" clId="{EEF9B19D-84A0-4A29-9D4A-2810893511CE}" dt="2022-09-13T09:46:18.833" v="1019" actId="947"/>
          <ac:spMkLst>
            <pc:docMk/>
            <pc:sldMk cId="305472364" sldId="275"/>
            <ac:spMk id="23" creationId="{3C12A6F3-B438-4FB3-BC63-F2B7823D4A5F}"/>
          </ac:spMkLst>
        </pc:spChg>
        <pc:spChg chg="mod">
          <ac:chgData name="Soleil Yi" userId="c719b956-004a-4243-81dc-14be649b7814" providerId="ADAL" clId="{EEF9B19D-84A0-4A29-9D4A-2810893511CE}" dt="2022-09-13T09:46:18.740" v="1007"/>
          <ac:spMkLst>
            <pc:docMk/>
            <pc:sldMk cId="305472364" sldId="275"/>
            <ac:spMk id="24" creationId="{F5ADC4C0-CA19-4101-9C10-12049C613A6A}"/>
          </ac:spMkLst>
        </pc:spChg>
        <pc:spChg chg="mod">
          <ac:chgData name="Soleil Yi" userId="c719b956-004a-4243-81dc-14be649b7814" providerId="ADAL" clId="{EEF9B19D-84A0-4A29-9D4A-2810893511CE}" dt="2022-09-13T09:46:18.765" v="1011"/>
          <ac:spMkLst>
            <pc:docMk/>
            <pc:sldMk cId="305472364" sldId="275"/>
            <ac:spMk id="25" creationId="{61288A25-0099-4322-BFA1-E660F17FCC40}"/>
          </ac:spMkLst>
        </pc:spChg>
        <pc:spChg chg="mod">
          <ac:chgData name="Soleil Yi" userId="c719b956-004a-4243-81dc-14be649b7814" providerId="ADAL" clId="{EEF9B19D-84A0-4A29-9D4A-2810893511CE}" dt="2022-09-13T09:46:18.681" v="999" actId="947"/>
          <ac:spMkLst>
            <pc:docMk/>
            <pc:sldMk cId="305472364" sldId="275"/>
            <ac:spMk id="30" creationId="{1131749A-CCA2-45E9-9E68-4175B63E9CC8}"/>
          </ac:spMkLst>
        </pc:spChg>
        <pc:spChg chg="mod">
          <ac:chgData name="Soleil Yi" userId="c719b956-004a-4243-81dc-14be649b7814" providerId="ADAL" clId="{EEF9B19D-84A0-4A29-9D4A-2810893511CE}" dt="2022-09-13T09:46:18.708" v="1003" actId="947"/>
          <ac:spMkLst>
            <pc:docMk/>
            <pc:sldMk cId="305472364" sldId="275"/>
            <ac:spMk id="31" creationId="{FDD22274-1FD4-4BEE-B09A-48F0DD896E40}"/>
          </ac:spMkLst>
        </pc:spChg>
        <pc:spChg chg="mod">
          <ac:chgData name="Soleil Yi" userId="c719b956-004a-4243-81dc-14be649b7814" providerId="ADAL" clId="{EEF9B19D-84A0-4A29-9D4A-2810893511CE}" dt="2022-09-13T09:46:18.620" v="991"/>
          <ac:spMkLst>
            <pc:docMk/>
            <pc:sldMk cId="305472364" sldId="275"/>
            <ac:spMk id="32" creationId="{9D48312E-15A1-4509-B654-EB5D9562020E}"/>
          </ac:spMkLst>
        </pc:spChg>
        <pc:spChg chg="mod">
          <ac:chgData name="Soleil Yi" userId="c719b956-004a-4243-81dc-14be649b7814" providerId="ADAL" clId="{EEF9B19D-84A0-4A29-9D4A-2810893511CE}" dt="2022-09-13T09:46:18.645" v="995"/>
          <ac:spMkLst>
            <pc:docMk/>
            <pc:sldMk cId="305472364" sldId="275"/>
            <ac:spMk id="33" creationId="{E9B0E856-86C8-446B-A7A4-02A2618008EB}"/>
          </ac:spMkLst>
        </pc:spChg>
        <pc:spChg chg="mod">
          <ac:chgData name="Soleil Yi" userId="c719b956-004a-4243-81dc-14be649b7814" providerId="ADAL" clId="{EEF9B19D-84A0-4A29-9D4A-2810893511CE}" dt="2022-09-13T09:46:18.557" v="983" actId="947"/>
          <ac:spMkLst>
            <pc:docMk/>
            <pc:sldMk cId="305472364" sldId="275"/>
            <ac:spMk id="38" creationId="{4A2F23A9-AA33-4649-9D8F-4C35059A9580}"/>
          </ac:spMkLst>
        </pc:spChg>
        <pc:spChg chg="mod">
          <ac:chgData name="Soleil Yi" userId="c719b956-004a-4243-81dc-14be649b7814" providerId="ADAL" clId="{EEF9B19D-84A0-4A29-9D4A-2810893511CE}" dt="2022-09-13T09:46:18.587" v="987" actId="947"/>
          <ac:spMkLst>
            <pc:docMk/>
            <pc:sldMk cId="305472364" sldId="275"/>
            <ac:spMk id="39" creationId="{9D9F24AF-80F7-4440-A8CC-7D1CB6C56424}"/>
          </ac:spMkLst>
        </pc:spChg>
        <pc:spChg chg="mod">
          <ac:chgData name="Soleil Yi" userId="c719b956-004a-4243-81dc-14be649b7814" providerId="ADAL" clId="{EEF9B19D-84A0-4A29-9D4A-2810893511CE}" dt="2022-09-13T09:46:18.486" v="975"/>
          <ac:spMkLst>
            <pc:docMk/>
            <pc:sldMk cId="305472364" sldId="275"/>
            <ac:spMk id="40" creationId="{5FC18171-A069-4697-94E0-DFC674D92BE5}"/>
          </ac:spMkLst>
        </pc:spChg>
        <pc:spChg chg="mod">
          <ac:chgData name="Soleil Yi" userId="c719b956-004a-4243-81dc-14be649b7814" providerId="ADAL" clId="{EEF9B19D-84A0-4A29-9D4A-2810893511CE}" dt="2022-09-13T09:46:18.518" v="979"/>
          <ac:spMkLst>
            <pc:docMk/>
            <pc:sldMk cId="305472364" sldId="275"/>
            <ac:spMk id="41" creationId="{84624F38-BD58-43CF-A283-24EF82F9BC64}"/>
          </ac:spMkLst>
        </pc:spChg>
        <pc:spChg chg="mod">
          <ac:chgData name="Soleil Yi" userId="c719b956-004a-4243-81dc-14be649b7814" providerId="ADAL" clId="{EEF9B19D-84A0-4A29-9D4A-2810893511CE}" dt="2022-09-13T09:46:18.417" v="967" actId="947"/>
          <ac:spMkLst>
            <pc:docMk/>
            <pc:sldMk cId="305472364" sldId="275"/>
            <ac:spMk id="46" creationId="{9C829853-2821-4064-8CDB-1871F543C2A0}"/>
          </ac:spMkLst>
        </pc:spChg>
        <pc:spChg chg="mod">
          <ac:chgData name="Soleil Yi" userId="c719b956-004a-4243-81dc-14be649b7814" providerId="ADAL" clId="{EEF9B19D-84A0-4A29-9D4A-2810893511CE}" dt="2022-09-13T09:46:18.451" v="971" actId="947"/>
          <ac:spMkLst>
            <pc:docMk/>
            <pc:sldMk cId="305472364" sldId="275"/>
            <ac:spMk id="47" creationId="{36511B43-650A-4A43-B0C1-18562950C42E}"/>
          </ac:spMkLst>
        </pc:spChg>
        <pc:spChg chg="mod">
          <ac:chgData name="Soleil Yi" userId="c719b956-004a-4243-81dc-14be649b7814" providerId="ADAL" clId="{EEF9B19D-84A0-4A29-9D4A-2810893511CE}" dt="2022-09-13T09:46:18.350" v="959"/>
          <ac:spMkLst>
            <pc:docMk/>
            <pc:sldMk cId="305472364" sldId="275"/>
            <ac:spMk id="48" creationId="{7CEA84A9-7E06-4874-B326-6F9086675602}"/>
          </ac:spMkLst>
        </pc:spChg>
        <pc:spChg chg="mod">
          <ac:chgData name="Soleil Yi" userId="c719b956-004a-4243-81dc-14be649b7814" providerId="ADAL" clId="{EEF9B19D-84A0-4A29-9D4A-2810893511CE}" dt="2022-09-13T09:46:18.377" v="963"/>
          <ac:spMkLst>
            <pc:docMk/>
            <pc:sldMk cId="305472364" sldId="275"/>
            <ac:spMk id="49" creationId="{EC72756B-9592-49E5-B0E6-36966F44F425}"/>
          </ac:spMkLst>
        </pc:spChg>
        <pc:spChg chg="mod">
          <ac:chgData name="Soleil Yi" userId="c719b956-004a-4243-81dc-14be649b7814" providerId="ADAL" clId="{EEF9B19D-84A0-4A29-9D4A-2810893511CE}" dt="2022-09-13T09:46:18.299" v="951" actId="947"/>
          <ac:spMkLst>
            <pc:docMk/>
            <pc:sldMk cId="305472364" sldId="275"/>
            <ac:spMk id="53" creationId="{C85A2E69-AA6D-4715-882F-DD562AA8FB70}"/>
          </ac:spMkLst>
        </pc:spChg>
        <pc:spChg chg="mod">
          <ac:chgData name="Soleil Yi" userId="c719b956-004a-4243-81dc-14be649b7814" providerId="ADAL" clId="{EEF9B19D-84A0-4A29-9D4A-2810893511CE}" dt="2022-09-13T09:46:18.325" v="955" actId="947"/>
          <ac:spMkLst>
            <pc:docMk/>
            <pc:sldMk cId="305472364" sldId="275"/>
            <ac:spMk id="54" creationId="{132A4515-A47A-490D-97BB-4A5AC7C098F9}"/>
          </ac:spMkLst>
        </pc:spChg>
        <pc:spChg chg="mod">
          <ac:chgData name="Soleil Yi" userId="c719b956-004a-4243-81dc-14be649b7814" providerId="ADAL" clId="{EEF9B19D-84A0-4A29-9D4A-2810893511CE}" dt="2022-09-13T09:46:18.216" v="943"/>
          <ac:spMkLst>
            <pc:docMk/>
            <pc:sldMk cId="305472364" sldId="275"/>
            <ac:spMk id="55" creationId="{6972B1DC-B66B-4218-A45B-DE6E59FE9838}"/>
          </ac:spMkLst>
        </pc:spChg>
        <pc:spChg chg="mod">
          <ac:chgData name="Soleil Yi" userId="c719b956-004a-4243-81dc-14be649b7814" providerId="ADAL" clId="{EEF9B19D-84A0-4A29-9D4A-2810893511CE}" dt="2022-09-13T09:46:18.260" v="947"/>
          <ac:spMkLst>
            <pc:docMk/>
            <pc:sldMk cId="305472364" sldId="275"/>
            <ac:spMk id="56" creationId="{BB62791E-7291-44A8-88F3-9C2EC82894C8}"/>
          </ac:spMkLst>
        </pc:spChg>
        <pc:spChg chg="mod">
          <ac:chgData name="Soleil Yi" userId="c719b956-004a-4243-81dc-14be649b7814" providerId="ADAL" clId="{EEF9B19D-84A0-4A29-9D4A-2810893511CE}" dt="2022-09-13T09:46:17.834" v="903" actId="947"/>
          <ac:spMkLst>
            <pc:docMk/>
            <pc:sldMk cId="305472364" sldId="275"/>
            <ac:spMk id="57" creationId="{D71E17EF-FF03-4620-BA8E-26553FB66217}"/>
          </ac:spMkLst>
        </pc:spChg>
        <pc:spChg chg="mod">
          <ac:chgData name="Soleil Yi" userId="c719b956-004a-4243-81dc-14be649b7814" providerId="ADAL" clId="{EEF9B19D-84A0-4A29-9D4A-2810893511CE}" dt="2022-09-13T09:46:17.861" v="907" actId="947"/>
          <ac:spMkLst>
            <pc:docMk/>
            <pc:sldMk cId="305472364" sldId="275"/>
            <ac:spMk id="58" creationId="{C43B020B-11E3-46BC-9E87-8A9FC4C1F1BF}"/>
          </ac:spMkLst>
        </pc:spChg>
        <pc:spChg chg="mod">
          <ac:chgData name="Soleil Yi" userId="c719b956-004a-4243-81dc-14be649b7814" providerId="ADAL" clId="{EEF9B19D-84A0-4A29-9D4A-2810893511CE}" dt="2022-09-13T09:46:17.905" v="911" actId="947"/>
          <ac:spMkLst>
            <pc:docMk/>
            <pc:sldMk cId="305472364" sldId="275"/>
            <ac:spMk id="59" creationId="{32207DDA-29D9-4620-A75E-492EF491BED0}"/>
          </ac:spMkLst>
        </pc:spChg>
        <pc:spChg chg="mod">
          <ac:chgData name="Soleil Yi" userId="c719b956-004a-4243-81dc-14be649b7814" providerId="ADAL" clId="{EEF9B19D-84A0-4A29-9D4A-2810893511CE}" dt="2022-09-13T09:46:17.949" v="915" actId="947"/>
          <ac:spMkLst>
            <pc:docMk/>
            <pc:sldMk cId="305472364" sldId="275"/>
            <ac:spMk id="60" creationId="{86C2F175-F7BD-47BC-9526-42DA6A52F69C}"/>
          </ac:spMkLst>
        </pc:spChg>
        <pc:spChg chg="mod">
          <ac:chgData name="Soleil Yi" userId="c719b956-004a-4243-81dc-14be649b7814" providerId="ADAL" clId="{EEF9B19D-84A0-4A29-9D4A-2810893511CE}" dt="2022-09-13T09:46:17.993" v="919" actId="947"/>
          <ac:spMkLst>
            <pc:docMk/>
            <pc:sldMk cId="305472364" sldId="275"/>
            <ac:spMk id="61" creationId="{B85C0864-D934-4AE0-A0EE-953B3024379E}"/>
          </ac:spMkLst>
        </pc:spChg>
        <pc:spChg chg="mod">
          <ac:chgData name="Soleil Yi" userId="c719b956-004a-4243-81dc-14be649b7814" providerId="ADAL" clId="{EEF9B19D-84A0-4A29-9D4A-2810893511CE}" dt="2022-09-13T09:46:18.037" v="923" actId="947"/>
          <ac:spMkLst>
            <pc:docMk/>
            <pc:sldMk cId="305472364" sldId="275"/>
            <ac:spMk id="62" creationId="{B605C8E0-ED71-401B-A439-CECA0E076AC9}"/>
          </ac:spMkLst>
        </pc:spChg>
        <pc:spChg chg="mod">
          <ac:chgData name="Soleil Yi" userId="c719b956-004a-4243-81dc-14be649b7814" providerId="ADAL" clId="{EEF9B19D-84A0-4A29-9D4A-2810893511CE}" dt="2022-09-13T09:46:18.081" v="927" actId="947"/>
          <ac:spMkLst>
            <pc:docMk/>
            <pc:sldMk cId="305472364" sldId="275"/>
            <ac:spMk id="63" creationId="{BDF9BD61-B20B-4C57-A4B4-2163C92915F3}"/>
          </ac:spMkLst>
        </pc:spChg>
        <pc:spChg chg="mod">
          <ac:chgData name="Soleil Yi" userId="c719b956-004a-4243-81dc-14be649b7814" providerId="ADAL" clId="{EEF9B19D-84A0-4A29-9D4A-2810893511CE}" dt="2022-09-13T09:46:18.118" v="931" actId="947"/>
          <ac:spMkLst>
            <pc:docMk/>
            <pc:sldMk cId="305472364" sldId="275"/>
            <ac:spMk id="64" creationId="{D9E9A885-F255-4BAC-AC58-091CD38A065A}"/>
          </ac:spMkLst>
        </pc:spChg>
        <pc:spChg chg="mod">
          <ac:chgData name="Soleil Yi" userId="c719b956-004a-4243-81dc-14be649b7814" providerId="ADAL" clId="{EEF9B19D-84A0-4A29-9D4A-2810893511CE}" dt="2022-09-13T09:46:17.602" v="871" actId="947"/>
          <ac:spMkLst>
            <pc:docMk/>
            <pc:sldMk cId="305472364" sldId="275"/>
            <ac:spMk id="65" creationId="{73BD0C91-E337-4990-9B64-6F85F30D1813}"/>
          </ac:spMkLst>
        </pc:spChg>
        <pc:spChg chg="mod">
          <ac:chgData name="Soleil Yi" userId="c719b956-004a-4243-81dc-14be649b7814" providerId="ADAL" clId="{EEF9B19D-84A0-4A29-9D4A-2810893511CE}" dt="2022-09-13T09:46:17.636" v="875" actId="947"/>
          <ac:spMkLst>
            <pc:docMk/>
            <pc:sldMk cId="305472364" sldId="275"/>
            <ac:spMk id="66" creationId="{78595225-D0F2-4A85-8F16-DD851B2E64D1}"/>
          </ac:spMkLst>
        </pc:spChg>
        <pc:spChg chg="mod">
          <ac:chgData name="Soleil Yi" userId="c719b956-004a-4243-81dc-14be649b7814" providerId="ADAL" clId="{EEF9B19D-84A0-4A29-9D4A-2810893511CE}" dt="2022-09-13T09:46:17.663" v="879" actId="947"/>
          <ac:spMkLst>
            <pc:docMk/>
            <pc:sldMk cId="305472364" sldId="275"/>
            <ac:spMk id="67" creationId="{8EAA171F-3811-48D3-B13E-A00AC74C8AD9}"/>
          </ac:spMkLst>
        </pc:spChg>
        <pc:spChg chg="mod">
          <ac:chgData name="Soleil Yi" userId="c719b956-004a-4243-81dc-14be649b7814" providerId="ADAL" clId="{EEF9B19D-84A0-4A29-9D4A-2810893511CE}" dt="2022-09-13T09:46:17.690" v="883" actId="947"/>
          <ac:spMkLst>
            <pc:docMk/>
            <pc:sldMk cId="305472364" sldId="275"/>
            <ac:spMk id="68" creationId="{C80C74C2-FC79-46E4-A202-B65525C9155F}"/>
          </ac:spMkLst>
        </pc:spChg>
        <pc:spChg chg="mod">
          <ac:chgData name="Soleil Yi" userId="c719b956-004a-4243-81dc-14be649b7814" providerId="ADAL" clId="{EEF9B19D-84A0-4A29-9D4A-2810893511CE}" dt="2022-09-13T09:46:17.716" v="887" actId="947"/>
          <ac:spMkLst>
            <pc:docMk/>
            <pc:sldMk cId="305472364" sldId="275"/>
            <ac:spMk id="69" creationId="{BF172811-87C0-4C19-AE1A-F1BEB51276E6}"/>
          </ac:spMkLst>
        </pc:spChg>
        <pc:spChg chg="mod">
          <ac:chgData name="Soleil Yi" userId="c719b956-004a-4243-81dc-14be649b7814" providerId="ADAL" clId="{EEF9B19D-84A0-4A29-9D4A-2810893511CE}" dt="2022-09-13T09:46:17.747" v="891" actId="947"/>
          <ac:spMkLst>
            <pc:docMk/>
            <pc:sldMk cId="305472364" sldId="275"/>
            <ac:spMk id="70" creationId="{25897FEA-6DE7-4B8B-8833-B3E6161D3A0D}"/>
          </ac:spMkLst>
        </pc:spChg>
        <pc:spChg chg="mod">
          <ac:chgData name="Soleil Yi" userId="c719b956-004a-4243-81dc-14be649b7814" providerId="ADAL" clId="{EEF9B19D-84A0-4A29-9D4A-2810893511CE}" dt="2022-09-13T09:46:17.780" v="895" actId="947"/>
          <ac:spMkLst>
            <pc:docMk/>
            <pc:sldMk cId="305472364" sldId="275"/>
            <ac:spMk id="71" creationId="{F3122C25-9315-455E-9C6D-B9441B8E283D}"/>
          </ac:spMkLst>
        </pc:spChg>
        <pc:spChg chg="mod">
          <ac:chgData name="Soleil Yi" userId="c719b956-004a-4243-81dc-14be649b7814" providerId="ADAL" clId="{EEF9B19D-84A0-4A29-9D4A-2810893511CE}" dt="2022-09-13T09:46:17.808" v="899" actId="947"/>
          <ac:spMkLst>
            <pc:docMk/>
            <pc:sldMk cId="305472364" sldId="275"/>
            <ac:spMk id="72" creationId="{1793D703-355C-46A3-BCC7-366BBC25289D}"/>
          </ac:spMkLst>
        </pc:spChg>
      </pc:sldChg>
      <pc:sldChg chg="modSp mod">
        <pc:chgData name="Soleil Yi" userId="c719b956-004a-4243-81dc-14be649b7814" providerId="ADAL" clId="{EEF9B19D-84A0-4A29-9D4A-2810893511CE}" dt="2022-09-13T09:46:20.052" v="1183" actId="947"/>
        <pc:sldMkLst>
          <pc:docMk/>
          <pc:sldMk cId="2712886621" sldId="276"/>
        </pc:sldMkLst>
        <pc:spChg chg="mod">
          <ac:chgData name="Soleil Yi" userId="c719b956-004a-4243-81dc-14be649b7814" providerId="ADAL" clId="{EEF9B19D-84A0-4A29-9D4A-2810893511CE}" dt="2022-09-13T09:46:18.853" v="1023" actId="947"/>
          <ac:spMkLst>
            <pc:docMk/>
            <pc:sldMk cId="2712886621" sldId="276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8.952" v="1041" actId="947"/>
          <ac:spMkLst>
            <pc:docMk/>
            <pc:sldMk cId="2712886621" sldId="276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8.955" v="1042" actId="947"/>
          <ac:spMkLst>
            <pc:docMk/>
            <pc:sldMk cId="2712886621" sldId="276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8.957" v="1043" actId="947"/>
          <ac:spMkLst>
            <pc:docMk/>
            <pc:sldMk cId="2712886621" sldId="276"/>
            <ac:spMk id="10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18.949" v="1040" actId="947"/>
          <ac:spMkLst>
            <pc:docMk/>
            <pc:sldMk cId="2712886621" sldId="276"/>
            <ac:spMk id="13" creationId="{E9A5E2B9-4852-462A-AFD0-FF656E673187}"/>
          </ac:spMkLst>
        </pc:spChg>
        <pc:spChg chg="mod">
          <ac:chgData name="Soleil Yi" userId="c719b956-004a-4243-81dc-14be649b7814" providerId="ADAL" clId="{EEF9B19D-84A0-4A29-9D4A-2810893511CE}" dt="2022-09-13T09:46:19.995" v="1175" actId="947"/>
          <ac:spMkLst>
            <pc:docMk/>
            <pc:sldMk cId="2712886621" sldId="276"/>
            <ac:spMk id="14" creationId="{705DD3B1-8409-4BDF-9170-41D343127D82}"/>
          </ac:spMkLst>
        </pc:spChg>
        <pc:spChg chg="mod">
          <ac:chgData name="Soleil Yi" userId="c719b956-004a-4243-81dc-14be649b7814" providerId="ADAL" clId="{EEF9B19D-84A0-4A29-9D4A-2810893511CE}" dt="2022-09-13T09:46:20.024" v="1179" actId="947"/>
          <ac:spMkLst>
            <pc:docMk/>
            <pc:sldMk cId="2712886621" sldId="276"/>
            <ac:spMk id="15" creationId="{D2E936A1-C043-4BA0-BC70-6BA7134B46B7}"/>
          </ac:spMkLst>
        </pc:spChg>
        <pc:spChg chg="mod">
          <ac:chgData name="Soleil Yi" userId="c719b956-004a-4243-81dc-14be649b7814" providerId="ADAL" clId="{EEF9B19D-84A0-4A29-9D4A-2810893511CE}" dt="2022-09-13T09:46:20.052" v="1183" actId="947"/>
          <ac:spMkLst>
            <pc:docMk/>
            <pc:sldMk cId="2712886621" sldId="276"/>
            <ac:spMk id="16" creationId="{BD0056E6-3EEC-48D7-ACE5-4FBC432C050E}"/>
          </ac:spMkLst>
        </pc:spChg>
        <pc:spChg chg="mod">
          <ac:chgData name="Soleil Yi" userId="c719b956-004a-4243-81dc-14be649b7814" providerId="ADAL" clId="{EEF9B19D-84A0-4A29-9D4A-2810893511CE}" dt="2022-09-13T09:46:19.879" v="1159" actId="947"/>
          <ac:spMkLst>
            <pc:docMk/>
            <pc:sldMk cId="2712886621" sldId="276"/>
            <ac:spMk id="17" creationId="{50EA57CD-874A-4580-95FD-44A33D4F7D94}"/>
          </ac:spMkLst>
        </pc:spChg>
        <pc:spChg chg="mod">
          <ac:chgData name="Soleil Yi" userId="c719b956-004a-4243-81dc-14be649b7814" providerId="ADAL" clId="{EEF9B19D-84A0-4A29-9D4A-2810893511CE}" dt="2022-09-13T09:46:19.910" v="1163" actId="947"/>
          <ac:spMkLst>
            <pc:docMk/>
            <pc:sldMk cId="2712886621" sldId="276"/>
            <ac:spMk id="18" creationId="{C0456935-3FB5-487C-A717-1B6C31054231}"/>
          </ac:spMkLst>
        </pc:spChg>
        <pc:spChg chg="mod">
          <ac:chgData name="Soleil Yi" userId="c719b956-004a-4243-81dc-14be649b7814" providerId="ADAL" clId="{EEF9B19D-84A0-4A29-9D4A-2810893511CE}" dt="2022-09-13T09:46:19.939" v="1167" actId="947"/>
          <ac:spMkLst>
            <pc:docMk/>
            <pc:sldMk cId="2712886621" sldId="276"/>
            <ac:spMk id="19" creationId="{C0456935-3FB5-487C-A717-1B6C31054231}"/>
          </ac:spMkLst>
        </pc:spChg>
        <pc:spChg chg="mod">
          <ac:chgData name="Soleil Yi" userId="c719b956-004a-4243-81dc-14be649b7814" providerId="ADAL" clId="{EEF9B19D-84A0-4A29-9D4A-2810893511CE}" dt="2022-09-13T09:46:19.968" v="1171" actId="947"/>
          <ac:spMkLst>
            <pc:docMk/>
            <pc:sldMk cId="2712886621" sldId="276"/>
            <ac:spMk id="20" creationId="{C0456935-3FB5-487C-A717-1B6C31054231}"/>
          </ac:spMkLst>
        </pc:spChg>
        <pc:spChg chg="mod">
          <ac:chgData name="Soleil Yi" userId="c719b956-004a-4243-81dc-14be649b7814" providerId="ADAL" clId="{EEF9B19D-84A0-4A29-9D4A-2810893511CE}" dt="2022-09-13T09:46:18.934" v="1035" actId="947"/>
          <ac:spMkLst>
            <pc:docMk/>
            <pc:sldMk cId="2712886621" sldId="276"/>
            <ac:spMk id="21" creationId="{C96AB7A6-6F11-47F9-A08C-BEE0B06BA360}"/>
          </ac:spMkLst>
        </pc:spChg>
        <pc:spChg chg="mod">
          <ac:chgData name="Soleil Yi" userId="c719b956-004a-4243-81dc-14be649b7814" providerId="ADAL" clId="{EEF9B19D-84A0-4A29-9D4A-2810893511CE}" dt="2022-09-13T09:46:18.982" v="1047" actId="947"/>
          <ac:spMkLst>
            <pc:docMk/>
            <pc:sldMk cId="2712886621" sldId="276"/>
            <ac:spMk id="22" creationId="{0235A7A7-B055-43F4-808D-987A934AB16E}"/>
          </ac:spMkLst>
        </pc:spChg>
        <pc:spChg chg="mod">
          <ac:chgData name="Soleil Yi" userId="c719b956-004a-4243-81dc-14be649b7814" providerId="ADAL" clId="{EEF9B19D-84A0-4A29-9D4A-2810893511CE}" dt="2022-09-13T09:46:19.017" v="1051" actId="947"/>
          <ac:spMkLst>
            <pc:docMk/>
            <pc:sldMk cId="2712886621" sldId="276"/>
            <ac:spMk id="23" creationId="{2BFFCD75-73D8-4335-B57B-3F31CF8EA2AA}"/>
          </ac:spMkLst>
        </pc:spChg>
        <pc:spChg chg="mod">
          <ac:chgData name="Soleil Yi" userId="c719b956-004a-4243-81dc-14be649b7814" providerId="ADAL" clId="{EEF9B19D-84A0-4A29-9D4A-2810893511CE}" dt="2022-09-13T09:46:19.053" v="1055" actId="947"/>
          <ac:spMkLst>
            <pc:docMk/>
            <pc:sldMk cId="2712886621" sldId="276"/>
            <ac:spMk id="24" creationId="{A20A5A27-E3A3-48AB-92CF-1E6178DF0008}"/>
          </ac:spMkLst>
        </pc:spChg>
        <pc:spChg chg="mod">
          <ac:chgData name="Soleil Yi" userId="c719b956-004a-4243-81dc-14be649b7814" providerId="ADAL" clId="{EEF9B19D-84A0-4A29-9D4A-2810893511CE}" dt="2022-09-13T09:46:19.089" v="1059" actId="947"/>
          <ac:spMkLst>
            <pc:docMk/>
            <pc:sldMk cId="2712886621" sldId="276"/>
            <ac:spMk id="25" creationId="{AFCBC4F1-1055-4876-9F57-6E2A4FE12B01}"/>
          </ac:spMkLst>
        </pc:spChg>
        <pc:spChg chg="mod">
          <ac:chgData name="Soleil Yi" userId="c719b956-004a-4243-81dc-14be649b7814" providerId="ADAL" clId="{EEF9B19D-84A0-4A29-9D4A-2810893511CE}" dt="2022-09-13T09:46:19.127" v="1063" actId="947"/>
          <ac:spMkLst>
            <pc:docMk/>
            <pc:sldMk cId="2712886621" sldId="276"/>
            <ac:spMk id="26" creationId="{7B67B1F2-C009-483C-AF02-AF7CD9CC0600}"/>
          </ac:spMkLst>
        </pc:spChg>
        <pc:spChg chg="mod">
          <ac:chgData name="Soleil Yi" userId="c719b956-004a-4243-81dc-14be649b7814" providerId="ADAL" clId="{EEF9B19D-84A0-4A29-9D4A-2810893511CE}" dt="2022-09-13T09:46:19.165" v="1067" actId="947"/>
          <ac:spMkLst>
            <pc:docMk/>
            <pc:sldMk cId="2712886621" sldId="276"/>
            <ac:spMk id="27" creationId="{BC971B8A-D9C2-4DD4-9715-E1BF4770DCFD}"/>
          </ac:spMkLst>
        </pc:spChg>
        <pc:spChg chg="mod">
          <ac:chgData name="Soleil Yi" userId="c719b956-004a-4243-81dc-14be649b7814" providerId="ADAL" clId="{EEF9B19D-84A0-4A29-9D4A-2810893511CE}" dt="2022-09-13T09:46:19.196" v="1071" actId="947"/>
          <ac:spMkLst>
            <pc:docMk/>
            <pc:sldMk cId="2712886621" sldId="276"/>
            <ac:spMk id="28" creationId="{A0E8778B-4382-4CAE-954E-7697FD0E38F4}"/>
          </ac:spMkLst>
        </pc:spChg>
        <pc:spChg chg="mod">
          <ac:chgData name="Soleil Yi" userId="c719b956-004a-4243-81dc-14be649b7814" providerId="ADAL" clId="{EEF9B19D-84A0-4A29-9D4A-2810893511CE}" dt="2022-09-13T09:46:19.230" v="1075" actId="947"/>
          <ac:spMkLst>
            <pc:docMk/>
            <pc:sldMk cId="2712886621" sldId="276"/>
            <ac:spMk id="29" creationId="{4EAA081C-D4C3-49C3-8999-3ADC5B68EAA7}"/>
          </ac:spMkLst>
        </pc:spChg>
        <pc:spChg chg="mod">
          <ac:chgData name="Soleil Yi" userId="c719b956-004a-4243-81dc-14be649b7814" providerId="ADAL" clId="{EEF9B19D-84A0-4A29-9D4A-2810893511CE}" dt="2022-09-13T09:46:19.264" v="1079" actId="947"/>
          <ac:spMkLst>
            <pc:docMk/>
            <pc:sldMk cId="2712886621" sldId="276"/>
            <ac:spMk id="30" creationId="{13431743-9C0F-4F93-B715-A6A7A5293D14}"/>
          </ac:spMkLst>
        </pc:spChg>
        <pc:spChg chg="mod">
          <ac:chgData name="Soleil Yi" userId="c719b956-004a-4243-81dc-14be649b7814" providerId="ADAL" clId="{EEF9B19D-84A0-4A29-9D4A-2810893511CE}" dt="2022-09-13T09:46:19.308" v="1083" actId="947"/>
          <ac:spMkLst>
            <pc:docMk/>
            <pc:sldMk cId="2712886621" sldId="276"/>
            <ac:spMk id="31" creationId="{DE94EF8D-D402-4448-8F36-C78900E43B27}"/>
          </ac:spMkLst>
        </pc:spChg>
        <pc:spChg chg="mod">
          <ac:chgData name="Soleil Yi" userId="c719b956-004a-4243-81dc-14be649b7814" providerId="ADAL" clId="{EEF9B19D-84A0-4A29-9D4A-2810893511CE}" dt="2022-09-13T09:46:19.351" v="1087" actId="947"/>
          <ac:spMkLst>
            <pc:docMk/>
            <pc:sldMk cId="2712886621" sldId="276"/>
            <ac:spMk id="32" creationId="{A7914C39-7FFF-4625-8F62-A3561D395C37}"/>
          </ac:spMkLst>
        </pc:spChg>
        <pc:spChg chg="mod">
          <ac:chgData name="Soleil Yi" userId="c719b956-004a-4243-81dc-14be649b7814" providerId="ADAL" clId="{EEF9B19D-84A0-4A29-9D4A-2810893511CE}" dt="2022-09-13T09:46:19.395" v="1091" actId="947"/>
          <ac:spMkLst>
            <pc:docMk/>
            <pc:sldMk cId="2712886621" sldId="276"/>
            <ac:spMk id="33" creationId="{376A8BEC-9D7C-4711-820C-E7882ADBEFDA}"/>
          </ac:spMkLst>
        </pc:spChg>
        <pc:spChg chg="mod">
          <ac:chgData name="Soleil Yi" userId="c719b956-004a-4243-81dc-14be649b7814" providerId="ADAL" clId="{EEF9B19D-84A0-4A29-9D4A-2810893511CE}" dt="2022-09-13T09:46:19.430" v="1095" actId="947"/>
          <ac:spMkLst>
            <pc:docMk/>
            <pc:sldMk cId="2712886621" sldId="276"/>
            <ac:spMk id="34" creationId="{83CE5A90-E7A3-40C4-AF9A-B2CCE17A1389}"/>
          </ac:spMkLst>
        </pc:spChg>
        <pc:spChg chg="mod">
          <ac:chgData name="Soleil Yi" userId="c719b956-004a-4243-81dc-14be649b7814" providerId="ADAL" clId="{EEF9B19D-84A0-4A29-9D4A-2810893511CE}" dt="2022-09-13T09:46:19.460" v="1099" actId="947"/>
          <ac:spMkLst>
            <pc:docMk/>
            <pc:sldMk cId="2712886621" sldId="276"/>
            <ac:spMk id="35" creationId="{5ECFB45B-C0BE-4D47-8927-C2688F9BC984}"/>
          </ac:spMkLst>
        </pc:spChg>
        <pc:spChg chg="mod">
          <ac:chgData name="Soleil Yi" userId="c719b956-004a-4243-81dc-14be649b7814" providerId="ADAL" clId="{EEF9B19D-84A0-4A29-9D4A-2810893511CE}" dt="2022-09-13T09:46:19.488" v="1103" actId="947"/>
          <ac:spMkLst>
            <pc:docMk/>
            <pc:sldMk cId="2712886621" sldId="276"/>
            <ac:spMk id="36" creationId="{5511EAEE-6F34-47C0-B55E-003AFDC42AF0}"/>
          </ac:spMkLst>
        </pc:spChg>
        <pc:spChg chg="mod">
          <ac:chgData name="Soleil Yi" userId="c719b956-004a-4243-81dc-14be649b7814" providerId="ADAL" clId="{EEF9B19D-84A0-4A29-9D4A-2810893511CE}" dt="2022-09-13T09:46:19.516" v="1107" actId="947"/>
          <ac:spMkLst>
            <pc:docMk/>
            <pc:sldMk cId="2712886621" sldId="276"/>
            <ac:spMk id="37" creationId="{BD52D1FA-6B93-4BBB-AA76-6639FB421281}"/>
          </ac:spMkLst>
        </pc:spChg>
        <pc:spChg chg="mod">
          <ac:chgData name="Soleil Yi" userId="c719b956-004a-4243-81dc-14be649b7814" providerId="ADAL" clId="{EEF9B19D-84A0-4A29-9D4A-2810893511CE}" dt="2022-09-13T09:46:19.544" v="1111" actId="947"/>
          <ac:spMkLst>
            <pc:docMk/>
            <pc:sldMk cId="2712886621" sldId="276"/>
            <ac:spMk id="38" creationId="{0B15C851-F157-4A57-BC95-4B7A43139144}"/>
          </ac:spMkLst>
        </pc:spChg>
        <pc:spChg chg="mod">
          <ac:chgData name="Soleil Yi" userId="c719b956-004a-4243-81dc-14be649b7814" providerId="ADAL" clId="{EEF9B19D-84A0-4A29-9D4A-2810893511CE}" dt="2022-09-13T09:46:19.571" v="1115" actId="947"/>
          <ac:spMkLst>
            <pc:docMk/>
            <pc:sldMk cId="2712886621" sldId="276"/>
            <ac:spMk id="39" creationId="{24B91648-F27B-4881-A656-9EE49B9927C7}"/>
          </ac:spMkLst>
        </pc:spChg>
        <pc:spChg chg="mod">
          <ac:chgData name="Soleil Yi" userId="c719b956-004a-4243-81dc-14be649b7814" providerId="ADAL" clId="{EEF9B19D-84A0-4A29-9D4A-2810893511CE}" dt="2022-09-13T09:46:19.598" v="1119" actId="947"/>
          <ac:spMkLst>
            <pc:docMk/>
            <pc:sldMk cId="2712886621" sldId="276"/>
            <ac:spMk id="40" creationId="{7D1C52A3-3E7F-4F08-A48E-09ECEE8091AA}"/>
          </ac:spMkLst>
        </pc:spChg>
        <pc:spChg chg="mod">
          <ac:chgData name="Soleil Yi" userId="c719b956-004a-4243-81dc-14be649b7814" providerId="ADAL" clId="{EEF9B19D-84A0-4A29-9D4A-2810893511CE}" dt="2022-09-13T09:46:19.625" v="1123" actId="947"/>
          <ac:spMkLst>
            <pc:docMk/>
            <pc:sldMk cId="2712886621" sldId="276"/>
            <ac:spMk id="41" creationId="{92559AA5-08DB-44A7-8194-5EFE8D5DE668}"/>
          </ac:spMkLst>
        </pc:spChg>
        <pc:spChg chg="mod">
          <ac:chgData name="Soleil Yi" userId="c719b956-004a-4243-81dc-14be649b7814" providerId="ADAL" clId="{EEF9B19D-84A0-4A29-9D4A-2810893511CE}" dt="2022-09-13T09:46:19.651" v="1127" actId="947"/>
          <ac:spMkLst>
            <pc:docMk/>
            <pc:sldMk cId="2712886621" sldId="276"/>
            <ac:spMk id="42" creationId="{19020C11-2C81-4A0A-9FED-E40B0F84B121}"/>
          </ac:spMkLst>
        </pc:spChg>
        <pc:spChg chg="mod">
          <ac:chgData name="Soleil Yi" userId="c719b956-004a-4243-81dc-14be649b7814" providerId="ADAL" clId="{EEF9B19D-84A0-4A29-9D4A-2810893511CE}" dt="2022-09-13T09:46:19.678" v="1131" actId="947"/>
          <ac:spMkLst>
            <pc:docMk/>
            <pc:sldMk cId="2712886621" sldId="276"/>
            <ac:spMk id="43" creationId="{EA7784E9-ABC3-4756-B167-108F78A2870A}"/>
          </ac:spMkLst>
        </pc:spChg>
        <pc:spChg chg="mod">
          <ac:chgData name="Soleil Yi" userId="c719b956-004a-4243-81dc-14be649b7814" providerId="ADAL" clId="{EEF9B19D-84A0-4A29-9D4A-2810893511CE}" dt="2022-09-13T09:46:19.704" v="1135" actId="947"/>
          <ac:spMkLst>
            <pc:docMk/>
            <pc:sldMk cId="2712886621" sldId="276"/>
            <ac:spMk id="44" creationId="{FD4DC11B-4B01-4004-A4AA-47368C6483AF}"/>
          </ac:spMkLst>
        </pc:spChg>
        <pc:spChg chg="mod">
          <ac:chgData name="Soleil Yi" userId="c719b956-004a-4243-81dc-14be649b7814" providerId="ADAL" clId="{EEF9B19D-84A0-4A29-9D4A-2810893511CE}" dt="2022-09-13T09:46:19.732" v="1139" actId="947"/>
          <ac:spMkLst>
            <pc:docMk/>
            <pc:sldMk cId="2712886621" sldId="276"/>
            <ac:spMk id="45" creationId="{DFD680BB-D3CB-46CD-AC82-0EF1E2DFB9B9}"/>
          </ac:spMkLst>
        </pc:spChg>
        <pc:spChg chg="mod">
          <ac:chgData name="Soleil Yi" userId="c719b956-004a-4243-81dc-14be649b7814" providerId="ADAL" clId="{EEF9B19D-84A0-4A29-9D4A-2810893511CE}" dt="2022-09-13T09:46:19.758" v="1143" actId="947"/>
          <ac:spMkLst>
            <pc:docMk/>
            <pc:sldMk cId="2712886621" sldId="276"/>
            <ac:spMk id="46" creationId="{F3902DE8-F754-4C6A-9A79-2C140CCFFA52}"/>
          </ac:spMkLst>
        </pc:spChg>
        <pc:spChg chg="mod">
          <ac:chgData name="Soleil Yi" userId="c719b956-004a-4243-81dc-14be649b7814" providerId="ADAL" clId="{EEF9B19D-84A0-4A29-9D4A-2810893511CE}" dt="2022-09-13T09:46:19.792" v="1147" actId="947"/>
          <ac:spMkLst>
            <pc:docMk/>
            <pc:sldMk cId="2712886621" sldId="276"/>
            <ac:spMk id="47" creationId="{588F21D5-ADBE-4164-9349-CFA54029E5B8}"/>
          </ac:spMkLst>
        </pc:spChg>
        <pc:spChg chg="mod">
          <ac:chgData name="Soleil Yi" userId="c719b956-004a-4243-81dc-14be649b7814" providerId="ADAL" clId="{EEF9B19D-84A0-4A29-9D4A-2810893511CE}" dt="2022-09-13T09:46:19.820" v="1151" actId="947"/>
          <ac:spMkLst>
            <pc:docMk/>
            <pc:sldMk cId="2712886621" sldId="276"/>
            <ac:spMk id="48" creationId="{7D9A3931-2CDB-431C-AC0E-69CCE88C864D}"/>
          </ac:spMkLst>
        </pc:spChg>
        <pc:spChg chg="mod">
          <ac:chgData name="Soleil Yi" userId="c719b956-004a-4243-81dc-14be649b7814" providerId="ADAL" clId="{EEF9B19D-84A0-4A29-9D4A-2810893511CE}" dt="2022-09-13T09:46:19.851" v="1155" actId="947"/>
          <ac:spMkLst>
            <pc:docMk/>
            <pc:sldMk cId="2712886621" sldId="276"/>
            <ac:spMk id="49" creationId="{D65C478C-F05F-4862-834A-061BC27FD0CE}"/>
          </ac:spMkLst>
        </pc:spChg>
      </pc:sldChg>
      <pc:sldChg chg="modSp mod">
        <pc:chgData name="Soleil Yi" userId="c719b956-004a-4243-81dc-14be649b7814" providerId="ADAL" clId="{EEF9B19D-84A0-4A29-9D4A-2810893511CE}" dt="2022-09-13T09:46:20.439" v="1247" actId="947"/>
        <pc:sldMkLst>
          <pc:docMk/>
          <pc:sldMk cId="2549491499" sldId="277"/>
        </pc:sldMkLst>
        <pc:spChg chg="mod">
          <ac:chgData name="Soleil Yi" userId="c719b956-004a-4243-81dc-14be649b7814" providerId="ADAL" clId="{EEF9B19D-84A0-4A29-9D4A-2810893511CE}" dt="2022-09-13T09:46:20.071" v="1187" actId="947"/>
          <ac:spMkLst>
            <pc:docMk/>
            <pc:sldMk cId="2549491499" sldId="277"/>
            <ac:spMk id="2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149" v="1201" actId="947"/>
          <ac:spMkLst>
            <pc:docMk/>
            <pc:sldMk cId="2549491499" sldId="277"/>
            <ac:spMk id="3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156" v="1203" actId="947"/>
          <ac:spMkLst>
            <pc:docMk/>
            <pc:sldMk cId="2549491499" sldId="277"/>
            <ac:spMk id="4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143" v="1200" actId="947"/>
          <ac:spMkLst>
            <pc:docMk/>
            <pc:sldMk cId="2549491499" sldId="277"/>
            <ac:spMk id="6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188" v="1210" actId="947"/>
          <ac:spMkLst>
            <pc:docMk/>
            <pc:sldMk cId="2549491499" sldId="277"/>
            <ac:spMk id="7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236" v="1218" actId="947"/>
          <ac:spMkLst>
            <pc:docMk/>
            <pc:sldMk cId="2549491499" sldId="277"/>
            <ac:spMk id="9" creationId="{00000000-0000-0000-0000-000000000000}"/>
          </ac:spMkLst>
        </pc:spChg>
        <pc:spChg chg="mod">
          <ac:chgData name="Soleil Yi" userId="c719b956-004a-4243-81dc-14be649b7814" providerId="ADAL" clId="{EEF9B19D-84A0-4A29-9D4A-2810893511CE}" dt="2022-09-13T09:46:20.279" v="1226"/>
          <ac:spMkLst>
            <pc:docMk/>
            <pc:sldMk cId="2549491499" sldId="277"/>
            <ac:spMk id="10" creationId="{25AE6077-712A-4E8D-8829-BB856AF9DF96}"/>
          </ac:spMkLst>
        </pc:spChg>
        <pc:spChg chg="mod">
          <ac:chgData name="Soleil Yi" userId="c719b956-004a-4243-81dc-14be649b7814" providerId="ADAL" clId="{EEF9B19D-84A0-4A29-9D4A-2810893511CE}" dt="2022-09-13T09:46:20.238" v="1219" actId="947"/>
          <ac:spMkLst>
            <pc:docMk/>
            <pc:sldMk cId="2549491499" sldId="277"/>
            <ac:spMk id="264" creationId="{C2AF9724-AC00-42B1-98F5-A8D04010D450}"/>
          </ac:spMkLst>
        </pc:spChg>
        <pc:spChg chg="mod">
          <ac:chgData name="Soleil Yi" userId="c719b956-004a-4243-81dc-14be649b7814" providerId="ADAL" clId="{EEF9B19D-84A0-4A29-9D4A-2810893511CE}" dt="2022-09-13T09:46:20.281" v="1227" actId="947"/>
          <ac:spMkLst>
            <pc:docMk/>
            <pc:sldMk cId="2549491499" sldId="277"/>
            <ac:spMk id="265" creationId="{18E7C8EE-DF42-4AB5-9A0A-51758B784E29}"/>
          </ac:spMkLst>
        </pc:spChg>
        <pc:spChg chg="mod">
          <ac:chgData name="Soleil Yi" userId="c719b956-004a-4243-81dc-14be649b7814" providerId="ADAL" clId="{EEF9B19D-84A0-4A29-9D4A-2810893511CE}" dt="2022-09-13T09:46:20.326" v="1231" actId="947"/>
          <ac:spMkLst>
            <pc:docMk/>
            <pc:sldMk cId="2549491499" sldId="277"/>
            <ac:spMk id="266" creationId="{FE01DD8D-28B6-43A9-829A-8D8E172B546F}"/>
          </ac:spMkLst>
        </pc:spChg>
        <pc:spChg chg="mod">
          <ac:chgData name="Soleil Yi" userId="c719b956-004a-4243-81dc-14be649b7814" providerId="ADAL" clId="{EEF9B19D-84A0-4A29-9D4A-2810893511CE}" dt="2022-09-13T09:46:20.356" v="1235" actId="947"/>
          <ac:spMkLst>
            <pc:docMk/>
            <pc:sldMk cId="2549491499" sldId="277"/>
            <ac:spMk id="267" creationId="{902E5E03-D063-4D58-87C0-6CD4152B161F}"/>
          </ac:spMkLst>
        </pc:spChg>
        <pc:spChg chg="mod">
          <ac:chgData name="Soleil Yi" userId="c719b956-004a-4243-81dc-14be649b7814" providerId="ADAL" clId="{EEF9B19D-84A0-4A29-9D4A-2810893511CE}" dt="2022-09-13T09:46:20.383" v="1239" actId="947"/>
          <ac:spMkLst>
            <pc:docMk/>
            <pc:sldMk cId="2549491499" sldId="277"/>
            <ac:spMk id="268" creationId="{906AB3F5-DC4E-4C05-B160-7720255641CD}"/>
          </ac:spMkLst>
        </pc:spChg>
        <pc:spChg chg="mod">
          <ac:chgData name="Soleil Yi" userId="c719b956-004a-4243-81dc-14be649b7814" providerId="ADAL" clId="{EEF9B19D-84A0-4A29-9D4A-2810893511CE}" dt="2022-09-13T09:46:20.412" v="1243" actId="947"/>
          <ac:spMkLst>
            <pc:docMk/>
            <pc:sldMk cId="2549491499" sldId="277"/>
            <ac:spMk id="269" creationId="{1B9DF079-7DED-4895-979B-7928A38A79B3}"/>
          </ac:spMkLst>
        </pc:spChg>
        <pc:spChg chg="mod">
          <ac:chgData name="Soleil Yi" userId="c719b956-004a-4243-81dc-14be649b7814" providerId="ADAL" clId="{EEF9B19D-84A0-4A29-9D4A-2810893511CE}" dt="2022-09-13T09:46:20.439" v="1247" actId="947"/>
          <ac:spMkLst>
            <pc:docMk/>
            <pc:sldMk cId="2549491499" sldId="277"/>
            <ac:spMk id="270" creationId="{B45C5553-32FE-4F88-8335-89355930C5A3}"/>
          </ac:spMkLst>
        </pc:spChg>
        <pc:spChg chg="mod">
          <ac:chgData name="Soleil Yi" userId="c719b956-004a-4243-81dc-14be649b7814" providerId="ADAL" clId="{EEF9B19D-84A0-4A29-9D4A-2810893511CE}" dt="2022-09-13T09:46:20.139" v="1199" actId="947"/>
          <ac:spMkLst>
            <pc:docMk/>
            <pc:sldMk cId="2549491499" sldId="277"/>
            <ac:spMk id="271" creationId="{854C9F9B-EC70-49A2-84AF-290557D8F0AD}"/>
          </ac:spMkLst>
        </pc:spChg>
        <pc:spChg chg="mod">
          <ac:chgData name="Soleil Yi" userId="c719b956-004a-4243-81dc-14be649b7814" providerId="ADAL" clId="{EEF9B19D-84A0-4A29-9D4A-2810893511CE}" dt="2022-09-13T09:46:20.191" v="1211" actId="947"/>
          <ac:spMkLst>
            <pc:docMk/>
            <pc:sldMk cId="2549491499" sldId="277"/>
            <ac:spMk id="272" creationId="{CEEA3951-FF89-47FB-9A85-170E6B95FD2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4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478CF086-B091-4FB5-A5FD-85C5C59B9EDA}"/>
              </a:ext>
            </a:extLst>
          </p:cNvPr>
          <p:cNvGrpSpPr/>
          <p:nvPr userDrawn="1"/>
        </p:nvGrpSpPr>
        <p:grpSpPr>
          <a:xfrm>
            <a:off x="3162300" y="495300"/>
            <a:ext cx="5867400" cy="5867400"/>
            <a:chOff x="3162300" y="495300"/>
            <a:chExt cx="5867400" cy="586740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69CFD47-5592-425A-964D-059BDA30A3D4}"/>
                </a:ext>
              </a:extLst>
            </p:cNvPr>
            <p:cNvGrpSpPr/>
            <p:nvPr userDrawn="1"/>
          </p:nvGrpSpPr>
          <p:grpSpPr>
            <a:xfrm>
              <a:off x="3162300" y="495300"/>
              <a:ext cx="5867400" cy="5867400"/>
              <a:chOff x="3688362" y="641754"/>
              <a:chExt cx="5574492" cy="5574492"/>
            </a:xfrm>
          </p:grpSpPr>
          <p:sp>
            <p:nvSpPr>
              <p:cNvPr id="7" name="椭圆 6">
                <a:extLst>
                  <a:ext uri="{FF2B5EF4-FFF2-40B4-BE49-F238E27FC236}">
                    <a16:creationId xmlns:a16="http://schemas.microsoft.com/office/drawing/2014/main" id="{FF2E84A6-B231-4D85-BACA-F6EFC83D5F38}"/>
                  </a:ext>
                </a:extLst>
              </p:cNvPr>
              <p:cNvSpPr/>
              <p:nvPr/>
            </p:nvSpPr>
            <p:spPr>
              <a:xfrm>
                <a:off x="3688362" y="641754"/>
                <a:ext cx="5574492" cy="5574492"/>
              </a:xfrm>
              <a:prstGeom prst="ellipse">
                <a:avLst/>
              </a:prstGeom>
              <a:solidFill>
                <a:schemeClr val="bg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CF1145B0-409D-4072-9ADB-B9DAA1CB61BE}"/>
                  </a:ext>
                </a:extLst>
              </p:cNvPr>
              <p:cNvSpPr/>
              <p:nvPr/>
            </p:nvSpPr>
            <p:spPr>
              <a:xfrm>
                <a:off x="4195580" y="1148972"/>
                <a:ext cx="4560056" cy="456005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C7C7C71E-80B5-4984-9865-04EE75A7CA1A}"/>
                </a:ext>
              </a:extLst>
            </p:cNvPr>
            <p:cNvSpPr/>
            <p:nvPr userDrawn="1"/>
          </p:nvSpPr>
          <p:spPr>
            <a:xfrm>
              <a:off x="3556000" y="889000"/>
              <a:ext cx="5080000" cy="5080000"/>
            </a:xfrm>
            <a:prstGeom prst="ellipse">
              <a:avLst/>
            </a:prstGeom>
            <a:noFill/>
            <a:ln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538476D4-53A9-4605-9B84-D3438FF0F4B7}"/>
              </a:ext>
            </a:extLst>
          </p:cNvPr>
          <p:cNvGrpSpPr/>
          <p:nvPr userDrawn="1"/>
        </p:nvGrpSpPr>
        <p:grpSpPr>
          <a:xfrm rot="433328">
            <a:off x="2401656" y="1658124"/>
            <a:ext cx="4060849" cy="4669308"/>
            <a:chOff x="1342154" y="962181"/>
            <a:chExt cx="4261359" cy="4899862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0BFD3339-673F-45BD-A54A-C7C06E46E73C}"/>
                </a:ext>
              </a:extLst>
            </p:cNvPr>
            <p:cNvGrpSpPr/>
            <p:nvPr/>
          </p:nvGrpSpPr>
          <p:grpSpPr>
            <a:xfrm rot="938189">
              <a:off x="1342154" y="2172610"/>
              <a:ext cx="3653050" cy="3689433"/>
              <a:chOff x="1342154" y="2172610"/>
              <a:chExt cx="3653050" cy="3689433"/>
            </a:xfrm>
            <a:solidFill>
              <a:srgbClr val="00F2A9"/>
            </a:solidFill>
          </p:grpSpPr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CDCFADA6-1883-43E1-AADC-0B30981704C9}"/>
                  </a:ext>
                </a:extLst>
              </p:cNvPr>
              <p:cNvSpPr/>
              <p:nvPr/>
            </p:nvSpPr>
            <p:spPr>
              <a:xfrm>
                <a:off x="1342154" y="4916535"/>
                <a:ext cx="945509" cy="945508"/>
              </a:xfrm>
              <a:custGeom>
                <a:avLst/>
                <a:gdLst>
                  <a:gd name="connsiteX0" fmla="*/ 467559 w 945509"/>
                  <a:gd name="connsiteY0" fmla="*/ 851997 h 945508"/>
                  <a:gd name="connsiteX1" fmla="*/ 924729 w 945509"/>
                  <a:gd name="connsiteY1" fmla="*/ 851997 h 945508"/>
                  <a:gd name="connsiteX2" fmla="*/ 924729 w 945509"/>
                  <a:gd name="connsiteY2" fmla="*/ 755022 h 945508"/>
                  <a:gd name="connsiteX3" fmla="*/ 190487 w 945509"/>
                  <a:gd name="connsiteY3" fmla="*/ 20780 h 945508"/>
                  <a:gd name="connsiteX4" fmla="*/ 93512 w 945509"/>
                  <a:gd name="connsiteY4" fmla="*/ 20780 h 945508"/>
                  <a:gd name="connsiteX5" fmla="*/ 93512 w 945509"/>
                  <a:gd name="connsiteY5" fmla="*/ 477950 h 945508"/>
                  <a:gd name="connsiteX6" fmla="*/ 467559 w 945509"/>
                  <a:gd name="connsiteY6" fmla="*/ 851997 h 945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5509" h="945508">
                    <a:moveTo>
                      <a:pt x="467559" y="851997"/>
                    </a:moveTo>
                    <a:cubicBezTo>
                      <a:pt x="592242" y="976680"/>
                      <a:pt x="800046" y="976680"/>
                      <a:pt x="924729" y="851997"/>
                    </a:cubicBezTo>
                    <a:cubicBezTo>
                      <a:pt x="952436" y="824290"/>
                      <a:pt x="952436" y="782729"/>
                      <a:pt x="924729" y="755022"/>
                    </a:cubicBezTo>
                    <a:lnTo>
                      <a:pt x="190487" y="20780"/>
                    </a:lnTo>
                    <a:cubicBezTo>
                      <a:pt x="162780" y="-6927"/>
                      <a:pt x="121219" y="-6927"/>
                      <a:pt x="93512" y="20780"/>
                    </a:cubicBezTo>
                    <a:cubicBezTo>
                      <a:pt x="-31171" y="145463"/>
                      <a:pt x="-31171" y="353267"/>
                      <a:pt x="93512" y="477950"/>
                    </a:cubicBezTo>
                    <a:lnTo>
                      <a:pt x="467559" y="851997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619544A0-20B4-4B98-B074-1A2DADEDF283}"/>
                  </a:ext>
                </a:extLst>
              </p:cNvPr>
              <p:cNvSpPr/>
              <p:nvPr/>
            </p:nvSpPr>
            <p:spPr>
              <a:xfrm>
                <a:off x="3174295" y="2172610"/>
                <a:ext cx="1820910" cy="1857293"/>
              </a:xfrm>
              <a:custGeom>
                <a:avLst/>
                <a:gdLst>
                  <a:gd name="connsiteX0" fmla="*/ 1586239 w 1820910"/>
                  <a:gd name="connsiteY0" fmla="*/ 1836513 h 1857293"/>
                  <a:gd name="connsiteX1" fmla="*/ 1683214 w 1820910"/>
                  <a:gd name="connsiteY1" fmla="*/ 1836513 h 1857293"/>
                  <a:gd name="connsiteX2" fmla="*/ 1752482 w 1820910"/>
                  <a:gd name="connsiteY2" fmla="*/ 1774172 h 1857293"/>
                  <a:gd name="connsiteX3" fmla="*/ 1759409 w 1820910"/>
                  <a:gd name="connsiteY3" fmla="*/ 1476319 h 1857293"/>
                  <a:gd name="connsiteX4" fmla="*/ 360194 w 1820910"/>
                  <a:gd name="connsiteY4" fmla="*/ 42470 h 1857293"/>
                  <a:gd name="connsiteX5" fmla="*/ 166243 w 1820910"/>
                  <a:gd name="connsiteY5" fmla="*/ 35543 h 1857293"/>
                  <a:gd name="connsiteX6" fmla="*/ 20781 w 1820910"/>
                  <a:gd name="connsiteY6" fmla="*/ 167153 h 1857293"/>
                  <a:gd name="connsiteX7" fmla="*/ 20781 w 1820910"/>
                  <a:gd name="connsiteY7" fmla="*/ 264128 h 1857293"/>
                  <a:gd name="connsiteX8" fmla="*/ 103902 w 1820910"/>
                  <a:gd name="connsiteY8" fmla="*/ 347250 h 1857293"/>
                  <a:gd name="connsiteX9" fmla="*/ 1489264 w 1820910"/>
                  <a:gd name="connsiteY9" fmla="*/ 1732611 h 1857293"/>
                  <a:gd name="connsiteX10" fmla="*/ 1586239 w 1820910"/>
                  <a:gd name="connsiteY10" fmla="*/ 1836513 h 185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0910" h="1857293">
                    <a:moveTo>
                      <a:pt x="1586239" y="1836513"/>
                    </a:moveTo>
                    <a:cubicBezTo>
                      <a:pt x="1613946" y="1864220"/>
                      <a:pt x="1655507" y="1864220"/>
                      <a:pt x="1683214" y="1836513"/>
                    </a:cubicBezTo>
                    <a:lnTo>
                      <a:pt x="1752482" y="1774172"/>
                    </a:lnTo>
                    <a:cubicBezTo>
                      <a:pt x="1842531" y="1697977"/>
                      <a:pt x="1842531" y="1559441"/>
                      <a:pt x="1759409" y="1476319"/>
                    </a:cubicBezTo>
                    <a:lnTo>
                      <a:pt x="360194" y="42470"/>
                    </a:lnTo>
                    <a:cubicBezTo>
                      <a:pt x="304780" y="-12944"/>
                      <a:pt x="221658" y="-12944"/>
                      <a:pt x="166243" y="35543"/>
                    </a:cubicBezTo>
                    <a:lnTo>
                      <a:pt x="20781" y="167153"/>
                    </a:lnTo>
                    <a:cubicBezTo>
                      <a:pt x="-6927" y="194860"/>
                      <a:pt x="-6927" y="236421"/>
                      <a:pt x="20781" y="264128"/>
                    </a:cubicBezTo>
                    <a:lnTo>
                      <a:pt x="103902" y="347250"/>
                    </a:lnTo>
                    <a:lnTo>
                      <a:pt x="1489264" y="1732611"/>
                    </a:lnTo>
                    <a:lnTo>
                      <a:pt x="1586239" y="1836513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1E2AAC21-FE71-4E2E-B7F8-72987927EB5D}"/>
                </a:ext>
              </a:extLst>
            </p:cNvPr>
            <p:cNvGrpSpPr/>
            <p:nvPr/>
          </p:nvGrpSpPr>
          <p:grpSpPr>
            <a:xfrm rot="938189">
              <a:off x="1387716" y="962181"/>
              <a:ext cx="4215797" cy="4757617"/>
              <a:chOff x="1276350" y="900085"/>
              <a:chExt cx="4215797" cy="4757617"/>
            </a:xfrm>
            <a:solidFill>
              <a:srgbClr val="322153"/>
            </a:solidFill>
          </p:grpSpPr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90738D8A-3BE6-43A2-B103-B902EF3ACBD9}"/>
                  </a:ext>
                </a:extLst>
              </p:cNvPr>
              <p:cNvSpPr/>
              <p:nvPr/>
            </p:nvSpPr>
            <p:spPr>
              <a:xfrm rot="19881761">
                <a:off x="4093954" y="900085"/>
                <a:ext cx="429462" cy="429462"/>
              </a:xfrm>
              <a:custGeom>
                <a:avLst/>
                <a:gdLst>
                  <a:gd name="connsiteX0" fmla="*/ 311706 w 429462"/>
                  <a:gd name="connsiteY0" fmla="*/ 20780 h 429462"/>
                  <a:gd name="connsiteX1" fmla="*/ 20781 w 429462"/>
                  <a:gd name="connsiteY1" fmla="*/ 311706 h 429462"/>
                  <a:gd name="connsiteX2" fmla="*/ 20781 w 429462"/>
                  <a:gd name="connsiteY2" fmla="*/ 408682 h 429462"/>
                  <a:gd name="connsiteX3" fmla="*/ 69268 w 429462"/>
                  <a:gd name="connsiteY3" fmla="*/ 429462 h 429462"/>
                  <a:gd name="connsiteX4" fmla="*/ 117756 w 429462"/>
                  <a:gd name="connsiteY4" fmla="*/ 408682 h 429462"/>
                  <a:gd name="connsiteX5" fmla="*/ 408682 w 429462"/>
                  <a:gd name="connsiteY5" fmla="*/ 117756 h 429462"/>
                  <a:gd name="connsiteX6" fmla="*/ 408682 w 429462"/>
                  <a:gd name="connsiteY6" fmla="*/ 20780 h 429462"/>
                  <a:gd name="connsiteX7" fmla="*/ 311706 w 429462"/>
                  <a:gd name="connsiteY7" fmla="*/ 2078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9462" h="429462">
                    <a:moveTo>
                      <a:pt x="311706" y="20780"/>
                    </a:moveTo>
                    <a:lnTo>
                      <a:pt x="20781" y="311706"/>
                    </a:lnTo>
                    <a:cubicBezTo>
                      <a:pt x="-6927" y="339414"/>
                      <a:pt x="-6927" y="380974"/>
                      <a:pt x="20781" y="408682"/>
                    </a:cubicBezTo>
                    <a:cubicBezTo>
                      <a:pt x="34634" y="422535"/>
                      <a:pt x="55415" y="429462"/>
                      <a:pt x="69268" y="429462"/>
                    </a:cubicBezTo>
                    <a:cubicBezTo>
                      <a:pt x="83122" y="429462"/>
                      <a:pt x="103902" y="422535"/>
                      <a:pt x="117756" y="408682"/>
                    </a:cubicBezTo>
                    <a:lnTo>
                      <a:pt x="408682" y="117756"/>
                    </a:lnTo>
                    <a:cubicBezTo>
                      <a:pt x="436389" y="90048"/>
                      <a:pt x="436389" y="48488"/>
                      <a:pt x="408682" y="20780"/>
                    </a:cubicBezTo>
                    <a:cubicBezTo>
                      <a:pt x="380974" y="-6927"/>
                      <a:pt x="332487" y="-6927"/>
                      <a:pt x="311706" y="2078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99433C52-1A64-41EE-94B7-1F9F337ADA3E}"/>
                  </a:ext>
                </a:extLst>
              </p:cNvPr>
              <p:cNvSpPr/>
              <p:nvPr/>
            </p:nvSpPr>
            <p:spPr>
              <a:xfrm rot="20329061">
                <a:off x="3865853" y="1151328"/>
                <a:ext cx="267161" cy="414116"/>
              </a:xfrm>
              <a:custGeom>
                <a:avLst/>
                <a:gdLst>
                  <a:gd name="connsiteX0" fmla="*/ 60849 w 267161"/>
                  <a:gd name="connsiteY0" fmla="*/ 414116 h 414116"/>
                  <a:gd name="connsiteX1" fmla="*/ 123191 w 267161"/>
                  <a:gd name="connsiteY1" fmla="*/ 372556 h 414116"/>
                  <a:gd name="connsiteX2" fmla="*/ 261727 w 267161"/>
                  <a:gd name="connsiteY2" fmla="*/ 95483 h 414116"/>
                  <a:gd name="connsiteX3" fmla="*/ 234019 w 267161"/>
                  <a:gd name="connsiteY3" fmla="*/ 5435 h 414116"/>
                  <a:gd name="connsiteX4" fmla="*/ 143971 w 267161"/>
                  <a:gd name="connsiteY4" fmla="*/ 33142 h 414116"/>
                  <a:gd name="connsiteX5" fmla="*/ 5435 w 267161"/>
                  <a:gd name="connsiteY5" fmla="*/ 310214 h 414116"/>
                  <a:gd name="connsiteX6" fmla="*/ 33142 w 267161"/>
                  <a:gd name="connsiteY6" fmla="*/ 400263 h 414116"/>
                  <a:gd name="connsiteX7" fmla="*/ 60849 w 267161"/>
                  <a:gd name="connsiteY7" fmla="*/ 414116 h 41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7161" h="414116">
                    <a:moveTo>
                      <a:pt x="60849" y="414116"/>
                    </a:moveTo>
                    <a:cubicBezTo>
                      <a:pt x="88557" y="414116"/>
                      <a:pt x="109337" y="400263"/>
                      <a:pt x="123191" y="372556"/>
                    </a:cubicBezTo>
                    <a:lnTo>
                      <a:pt x="261727" y="95483"/>
                    </a:lnTo>
                    <a:cubicBezTo>
                      <a:pt x="275580" y="60849"/>
                      <a:pt x="261727" y="19288"/>
                      <a:pt x="234019" y="5435"/>
                    </a:cubicBezTo>
                    <a:cubicBezTo>
                      <a:pt x="199385" y="-8419"/>
                      <a:pt x="157825" y="5435"/>
                      <a:pt x="143971" y="33142"/>
                    </a:cubicBezTo>
                    <a:lnTo>
                      <a:pt x="5435" y="310214"/>
                    </a:lnTo>
                    <a:cubicBezTo>
                      <a:pt x="-8419" y="344848"/>
                      <a:pt x="5435" y="386409"/>
                      <a:pt x="33142" y="400263"/>
                    </a:cubicBezTo>
                    <a:cubicBezTo>
                      <a:pt x="40069" y="414116"/>
                      <a:pt x="46996" y="414116"/>
                      <a:pt x="60849" y="41411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5785FC10-1BF8-4481-A4A3-03350606CF08}"/>
                  </a:ext>
                </a:extLst>
              </p:cNvPr>
              <p:cNvSpPr/>
              <p:nvPr/>
            </p:nvSpPr>
            <p:spPr>
              <a:xfrm rot="1349930">
                <a:off x="5077792" y="2973570"/>
                <a:ext cx="414355" cy="275454"/>
              </a:xfrm>
              <a:custGeom>
                <a:avLst/>
                <a:gdLst>
                  <a:gd name="connsiteX0" fmla="*/ 314543 w 414355"/>
                  <a:gd name="connsiteY0" fmla="*/ 5309 h 275454"/>
                  <a:gd name="connsiteX1" fmla="*/ 37471 w 414355"/>
                  <a:gd name="connsiteY1" fmla="*/ 143845 h 275454"/>
                  <a:gd name="connsiteX2" fmla="*/ 9764 w 414355"/>
                  <a:gd name="connsiteY2" fmla="*/ 233893 h 275454"/>
                  <a:gd name="connsiteX3" fmla="*/ 72105 w 414355"/>
                  <a:gd name="connsiteY3" fmla="*/ 275454 h 275454"/>
                  <a:gd name="connsiteX4" fmla="*/ 99812 w 414355"/>
                  <a:gd name="connsiteY4" fmla="*/ 268527 h 275454"/>
                  <a:gd name="connsiteX5" fmla="*/ 376885 w 414355"/>
                  <a:gd name="connsiteY5" fmla="*/ 129991 h 275454"/>
                  <a:gd name="connsiteX6" fmla="*/ 404592 w 414355"/>
                  <a:gd name="connsiteY6" fmla="*/ 39943 h 275454"/>
                  <a:gd name="connsiteX7" fmla="*/ 314543 w 414355"/>
                  <a:gd name="connsiteY7" fmla="*/ 5309 h 27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355" h="275454">
                    <a:moveTo>
                      <a:pt x="314543" y="5309"/>
                    </a:moveTo>
                    <a:lnTo>
                      <a:pt x="37471" y="143845"/>
                    </a:lnTo>
                    <a:cubicBezTo>
                      <a:pt x="2837" y="157699"/>
                      <a:pt x="-11017" y="199259"/>
                      <a:pt x="9764" y="233893"/>
                    </a:cubicBezTo>
                    <a:cubicBezTo>
                      <a:pt x="23617" y="261601"/>
                      <a:pt x="44398" y="275454"/>
                      <a:pt x="72105" y="275454"/>
                    </a:cubicBezTo>
                    <a:cubicBezTo>
                      <a:pt x="85959" y="275454"/>
                      <a:pt x="92885" y="275454"/>
                      <a:pt x="99812" y="268527"/>
                    </a:cubicBezTo>
                    <a:lnTo>
                      <a:pt x="376885" y="129991"/>
                    </a:lnTo>
                    <a:cubicBezTo>
                      <a:pt x="411519" y="116138"/>
                      <a:pt x="425372" y="74577"/>
                      <a:pt x="404592" y="39943"/>
                    </a:cubicBezTo>
                    <a:cubicBezTo>
                      <a:pt x="383811" y="5309"/>
                      <a:pt x="349177" y="-8545"/>
                      <a:pt x="314543" y="530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E4110173-C93D-4AA1-A922-F5B1E96F3BCB}"/>
                  </a:ext>
                </a:extLst>
              </p:cNvPr>
              <p:cNvSpPr/>
              <p:nvPr/>
            </p:nvSpPr>
            <p:spPr>
              <a:xfrm>
                <a:off x="1276350" y="1829748"/>
                <a:ext cx="3795890" cy="3827954"/>
              </a:xfrm>
              <a:custGeom>
                <a:avLst/>
                <a:gdLst>
                  <a:gd name="connsiteX0" fmla="*/ 2015701 w 3795890"/>
                  <a:gd name="connsiteY0" fmla="*/ 59772 h 3827954"/>
                  <a:gd name="connsiteX1" fmla="*/ 1870238 w 3795890"/>
                  <a:gd name="connsiteY1" fmla="*/ 191381 h 3827954"/>
                  <a:gd name="connsiteX2" fmla="*/ 1828677 w 3795890"/>
                  <a:gd name="connsiteY2" fmla="*/ 288357 h 3827954"/>
                  <a:gd name="connsiteX3" fmla="*/ 1870238 w 3795890"/>
                  <a:gd name="connsiteY3" fmla="*/ 385332 h 3827954"/>
                  <a:gd name="connsiteX4" fmla="*/ 1911799 w 3795890"/>
                  <a:gd name="connsiteY4" fmla="*/ 426893 h 3827954"/>
                  <a:gd name="connsiteX5" fmla="*/ 325560 w 3795890"/>
                  <a:gd name="connsiteY5" fmla="*/ 2795861 h 3827954"/>
                  <a:gd name="connsiteX6" fmla="*/ 304780 w 3795890"/>
                  <a:gd name="connsiteY6" fmla="*/ 2782007 h 3827954"/>
                  <a:gd name="connsiteX7" fmla="*/ 207804 w 3795890"/>
                  <a:gd name="connsiteY7" fmla="*/ 2740446 h 3827954"/>
                  <a:gd name="connsiteX8" fmla="*/ 207804 w 3795890"/>
                  <a:gd name="connsiteY8" fmla="*/ 2740446 h 3827954"/>
                  <a:gd name="connsiteX9" fmla="*/ 110829 w 3795890"/>
                  <a:gd name="connsiteY9" fmla="*/ 2782007 h 3827954"/>
                  <a:gd name="connsiteX10" fmla="*/ 0 w 3795890"/>
                  <a:gd name="connsiteY10" fmla="*/ 3059079 h 3827954"/>
                  <a:gd name="connsiteX11" fmla="*/ 117756 w 3795890"/>
                  <a:gd name="connsiteY11" fmla="*/ 3336152 h 3827954"/>
                  <a:gd name="connsiteX12" fmla="*/ 491803 w 3795890"/>
                  <a:gd name="connsiteY12" fmla="*/ 3710199 h 3827954"/>
                  <a:gd name="connsiteX13" fmla="*/ 768876 w 3795890"/>
                  <a:gd name="connsiteY13" fmla="*/ 3827955 h 3827954"/>
                  <a:gd name="connsiteX14" fmla="*/ 1045948 w 3795890"/>
                  <a:gd name="connsiteY14" fmla="*/ 3710199 h 3827954"/>
                  <a:gd name="connsiteX15" fmla="*/ 1045948 w 3795890"/>
                  <a:gd name="connsiteY15" fmla="*/ 3516249 h 3827954"/>
                  <a:gd name="connsiteX16" fmla="*/ 1011314 w 3795890"/>
                  <a:gd name="connsiteY16" fmla="*/ 3481615 h 3827954"/>
                  <a:gd name="connsiteX17" fmla="*/ 1246825 w 3795890"/>
                  <a:gd name="connsiteY17" fmla="*/ 3329225 h 3827954"/>
                  <a:gd name="connsiteX18" fmla="*/ 1329947 w 3795890"/>
                  <a:gd name="connsiteY18" fmla="*/ 3460834 h 3827954"/>
                  <a:gd name="connsiteX19" fmla="*/ 1738629 w 3795890"/>
                  <a:gd name="connsiteY19" fmla="*/ 3682492 h 3827954"/>
                  <a:gd name="connsiteX20" fmla="*/ 2001847 w 3795890"/>
                  <a:gd name="connsiteY20" fmla="*/ 3606297 h 3827954"/>
                  <a:gd name="connsiteX21" fmla="*/ 2147310 w 3795890"/>
                  <a:gd name="connsiteY21" fmla="*/ 2934397 h 3827954"/>
                  <a:gd name="connsiteX22" fmla="*/ 2057262 w 3795890"/>
                  <a:gd name="connsiteY22" fmla="*/ 2788934 h 3827954"/>
                  <a:gd name="connsiteX23" fmla="*/ 3394136 w 3795890"/>
                  <a:gd name="connsiteY23" fmla="*/ 1902303 h 3827954"/>
                  <a:gd name="connsiteX24" fmla="*/ 3449550 w 3795890"/>
                  <a:gd name="connsiteY24" fmla="*/ 1957717 h 3827954"/>
                  <a:gd name="connsiteX25" fmla="*/ 3636574 w 3795890"/>
                  <a:gd name="connsiteY25" fmla="*/ 1957717 h 3827954"/>
                  <a:gd name="connsiteX26" fmla="*/ 3705842 w 3795890"/>
                  <a:gd name="connsiteY26" fmla="*/ 1895376 h 3827954"/>
                  <a:gd name="connsiteX27" fmla="*/ 3795890 w 3795890"/>
                  <a:gd name="connsiteY27" fmla="*/ 1701425 h 3827954"/>
                  <a:gd name="connsiteX28" fmla="*/ 3719696 w 3795890"/>
                  <a:gd name="connsiteY28" fmla="*/ 1500548 h 3827954"/>
                  <a:gd name="connsiteX29" fmla="*/ 2306627 w 3795890"/>
                  <a:gd name="connsiteY29" fmla="*/ 59772 h 3827954"/>
                  <a:gd name="connsiteX30" fmla="*/ 2015701 w 3795890"/>
                  <a:gd name="connsiteY30" fmla="*/ 59772 h 3827954"/>
                  <a:gd name="connsiteX31" fmla="*/ 581852 w 3795890"/>
                  <a:gd name="connsiteY31" fmla="*/ 3613224 h 3827954"/>
                  <a:gd name="connsiteX32" fmla="*/ 207804 w 3795890"/>
                  <a:gd name="connsiteY32" fmla="*/ 3239176 h 3827954"/>
                  <a:gd name="connsiteX33" fmla="*/ 138536 w 3795890"/>
                  <a:gd name="connsiteY33" fmla="*/ 3059079 h 3827954"/>
                  <a:gd name="connsiteX34" fmla="*/ 214731 w 3795890"/>
                  <a:gd name="connsiteY34" fmla="*/ 2878982 h 3827954"/>
                  <a:gd name="connsiteX35" fmla="*/ 942046 w 3795890"/>
                  <a:gd name="connsiteY35" fmla="*/ 3613224 h 3827954"/>
                  <a:gd name="connsiteX36" fmla="*/ 581852 w 3795890"/>
                  <a:gd name="connsiteY36" fmla="*/ 3613224 h 3827954"/>
                  <a:gd name="connsiteX37" fmla="*/ 2022628 w 3795890"/>
                  <a:gd name="connsiteY37" fmla="*/ 3010592 h 3827954"/>
                  <a:gd name="connsiteX38" fmla="*/ 1918726 w 3795890"/>
                  <a:gd name="connsiteY38" fmla="*/ 3488541 h 3827954"/>
                  <a:gd name="connsiteX39" fmla="*/ 1440776 w 3795890"/>
                  <a:gd name="connsiteY39" fmla="*/ 3384639 h 3827954"/>
                  <a:gd name="connsiteX40" fmla="*/ 1357654 w 3795890"/>
                  <a:gd name="connsiteY40" fmla="*/ 3253030 h 3827954"/>
                  <a:gd name="connsiteX41" fmla="*/ 1932579 w 3795890"/>
                  <a:gd name="connsiteY41" fmla="*/ 2872056 h 3827954"/>
                  <a:gd name="connsiteX42" fmla="*/ 2022628 w 3795890"/>
                  <a:gd name="connsiteY42" fmla="*/ 3010592 h 3827954"/>
                  <a:gd name="connsiteX43" fmla="*/ 3643501 w 3795890"/>
                  <a:gd name="connsiteY43" fmla="*/ 1694498 h 3827954"/>
                  <a:gd name="connsiteX44" fmla="*/ 3595013 w 3795890"/>
                  <a:gd name="connsiteY44" fmla="*/ 1791474 h 3827954"/>
                  <a:gd name="connsiteX45" fmla="*/ 3525745 w 3795890"/>
                  <a:gd name="connsiteY45" fmla="*/ 1853815 h 3827954"/>
                  <a:gd name="connsiteX46" fmla="*/ 3428770 w 3795890"/>
                  <a:gd name="connsiteY46" fmla="*/ 1763766 h 3827954"/>
                  <a:gd name="connsiteX47" fmla="*/ 3338721 w 3795890"/>
                  <a:gd name="connsiteY47" fmla="*/ 1756840 h 3827954"/>
                  <a:gd name="connsiteX48" fmla="*/ 1911799 w 3795890"/>
                  <a:gd name="connsiteY48" fmla="*/ 2712739 h 3827954"/>
                  <a:gd name="connsiteX49" fmla="*/ 1911799 w 3795890"/>
                  <a:gd name="connsiteY49" fmla="*/ 2712739 h 3827954"/>
                  <a:gd name="connsiteX50" fmla="*/ 1911799 w 3795890"/>
                  <a:gd name="connsiteY50" fmla="*/ 2712739 h 3827954"/>
                  <a:gd name="connsiteX51" fmla="*/ 1219118 w 3795890"/>
                  <a:gd name="connsiteY51" fmla="*/ 3169908 h 3827954"/>
                  <a:gd name="connsiteX52" fmla="*/ 1219118 w 3795890"/>
                  <a:gd name="connsiteY52" fmla="*/ 3169908 h 3827954"/>
                  <a:gd name="connsiteX53" fmla="*/ 1219118 w 3795890"/>
                  <a:gd name="connsiteY53" fmla="*/ 3169908 h 3827954"/>
                  <a:gd name="connsiteX54" fmla="*/ 907412 w 3795890"/>
                  <a:gd name="connsiteY54" fmla="*/ 3377713 h 3827954"/>
                  <a:gd name="connsiteX55" fmla="*/ 422535 w 3795890"/>
                  <a:gd name="connsiteY55" fmla="*/ 2892836 h 3827954"/>
                  <a:gd name="connsiteX56" fmla="*/ 2008774 w 3795890"/>
                  <a:gd name="connsiteY56" fmla="*/ 530795 h 3827954"/>
                  <a:gd name="connsiteX57" fmla="*/ 3089356 w 3795890"/>
                  <a:gd name="connsiteY57" fmla="*/ 1611377 h 3827954"/>
                  <a:gd name="connsiteX58" fmla="*/ 3186331 w 3795890"/>
                  <a:gd name="connsiteY58" fmla="*/ 1611377 h 3827954"/>
                  <a:gd name="connsiteX59" fmla="*/ 3186331 w 3795890"/>
                  <a:gd name="connsiteY59" fmla="*/ 1514401 h 3827954"/>
                  <a:gd name="connsiteX60" fmla="*/ 2057262 w 3795890"/>
                  <a:gd name="connsiteY60" fmla="*/ 378405 h 3827954"/>
                  <a:gd name="connsiteX61" fmla="*/ 2057262 w 3795890"/>
                  <a:gd name="connsiteY61" fmla="*/ 378405 h 3827954"/>
                  <a:gd name="connsiteX62" fmla="*/ 1974140 w 3795890"/>
                  <a:gd name="connsiteY62" fmla="*/ 295283 h 3827954"/>
                  <a:gd name="connsiteX63" fmla="*/ 2119603 w 3795890"/>
                  <a:gd name="connsiteY63" fmla="*/ 163674 h 3827954"/>
                  <a:gd name="connsiteX64" fmla="*/ 2216578 w 3795890"/>
                  <a:gd name="connsiteY64" fmla="*/ 163674 h 3827954"/>
                  <a:gd name="connsiteX65" fmla="*/ 3615794 w 3795890"/>
                  <a:gd name="connsiteY65" fmla="*/ 1597523 h 3827954"/>
                  <a:gd name="connsiteX66" fmla="*/ 3643501 w 3795890"/>
                  <a:gd name="connsiteY66" fmla="*/ 1694498 h 382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795890" h="3827954">
                    <a:moveTo>
                      <a:pt x="2015701" y="59772"/>
                    </a:moveTo>
                    <a:lnTo>
                      <a:pt x="1870238" y="191381"/>
                    </a:lnTo>
                    <a:cubicBezTo>
                      <a:pt x="1849458" y="219088"/>
                      <a:pt x="1828677" y="253723"/>
                      <a:pt x="1828677" y="288357"/>
                    </a:cubicBezTo>
                    <a:cubicBezTo>
                      <a:pt x="1828677" y="322991"/>
                      <a:pt x="1842531" y="364551"/>
                      <a:pt x="1870238" y="385332"/>
                    </a:cubicBezTo>
                    <a:lnTo>
                      <a:pt x="1911799" y="426893"/>
                    </a:lnTo>
                    <a:lnTo>
                      <a:pt x="325560" y="2795861"/>
                    </a:lnTo>
                    <a:lnTo>
                      <a:pt x="304780" y="2782007"/>
                    </a:lnTo>
                    <a:cubicBezTo>
                      <a:pt x="277072" y="2754300"/>
                      <a:pt x="242438" y="2740446"/>
                      <a:pt x="207804" y="2740446"/>
                    </a:cubicBezTo>
                    <a:lnTo>
                      <a:pt x="207804" y="2740446"/>
                    </a:lnTo>
                    <a:cubicBezTo>
                      <a:pt x="173170" y="2740446"/>
                      <a:pt x="138536" y="2754300"/>
                      <a:pt x="110829" y="2782007"/>
                    </a:cubicBezTo>
                    <a:cubicBezTo>
                      <a:pt x="41561" y="2851275"/>
                      <a:pt x="0" y="2955177"/>
                      <a:pt x="0" y="3059079"/>
                    </a:cubicBezTo>
                    <a:cubicBezTo>
                      <a:pt x="0" y="3162981"/>
                      <a:pt x="41561" y="3259957"/>
                      <a:pt x="117756" y="3336152"/>
                    </a:cubicBezTo>
                    <a:lnTo>
                      <a:pt x="491803" y="3710199"/>
                    </a:lnTo>
                    <a:cubicBezTo>
                      <a:pt x="567998" y="3786394"/>
                      <a:pt x="664974" y="3827955"/>
                      <a:pt x="768876" y="3827955"/>
                    </a:cubicBezTo>
                    <a:cubicBezTo>
                      <a:pt x="872778" y="3827955"/>
                      <a:pt x="969753" y="3786394"/>
                      <a:pt x="1045948" y="3710199"/>
                    </a:cubicBezTo>
                    <a:cubicBezTo>
                      <a:pt x="1101362" y="3654785"/>
                      <a:pt x="1101362" y="3571663"/>
                      <a:pt x="1045948" y="3516249"/>
                    </a:cubicBezTo>
                    <a:lnTo>
                      <a:pt x="1011314" y="3481615"/>
                    </a:lnTo>
                    <a:lnTo>
                      <a:pt x="1246825" y="3329225"/>
                    </a:lnTo>
                    <a:lnTo>
                      <a:pt x="1329947" y="3460834"/>
                    </a:lnTo>
                    <a:cubicBezTo>
                      <a:pt x="1419996" y="3606297"/>
                      <a:pt x="1579312" y="3682492"/>
                      <a:pt x="1738629" y="3682492"/>
                    </a:cubicBezTo>
                    <a:cubicBezTo>
                      <a:pt x="1828677" y="3682492"/>
                      <a:pt x="1918726" y="3654785"/>
                      <a:pt x="2001847" y="3606297"/>
                    </a:cubicBezTo>
                    <a:cubicBezTo>
                      <a:pt x="2223505" y="3460834"/>
                      <a:pt x="2292773" y="3162981"/>
                      <a:pt x="2147310" y="2934397"/>
                    </a:cubicBezTo>
                    <a:lnTo>
                      <a:pt x="2057262" y="2788934"/>
                    </a:lnTo>
                    <a:lnTo>
                      <a:pt x="3394136" y="1902303"/>
                    </a:lnTo>
                    <a:lnTo>
                      <a:pt x="3449550" y="1957717"/>
                    </a:lnTo>
                    <a:cubicBezTo>
                      <a:pt x="3504964" y="2006205"/>
                      <a:pt x="3588086" y="2013131"/>
                      <a:pt x="3636574" y="1957717"/>
                    </a:cubicBezTo>
                    <a:lnTo>
                      <a:pt x="3705842" y="1895376"/>
                    </a:lnTo>
                    <a:cubicBezTo>
                      <a:pt x="3761256" y="1846888"/>
                      <a:pt x="3795890" y="1777620"/>
                      <a:pt x="3795890" y="1701425"/>
                    </a:cubicBezTo>
                    <a:cubicBezTo>
                      <a:pt x="3795890" y="1625230"/>
                      <a:pt x="3768183" y="1555962"/>
                      <a:pt x="3719696" y="1500548"/>
                    </a:cubicBezTo>
                    <a:lnTo>
                      <a:pt x="2306627" y="59772"/>
                    </a:lnTo>
                    <a:cubicBezTo>
                      <a:pt x="2230432" y="-16423"/>
                      <a:pt x="2098823" y="-23350"/>
                      <a:pt x="2015701" y="59772"/>
                    </a:cubicBezTo>
                    <a:close/>
                    <a:moveTo>
                      <a:pt x="581852" y="3613224"/>
                    </a:moveTo>
                    <a:lnTo>
                      <a:pt x="207804" y="3239176"/>
                    </a:lnTo>
                    <a:cubicBezTo>
                      <a:pt x="159317" y="3190689"/>
                      <a:pt x="138536" y="3128347"/>
                      <a:pt x="138536" y="3059079"/>
                    </a:cubicBezTo>
                    <a:cubicBezTo>
                      <a:pt x="138536" y="2989811"/>
                      <a:pt x="166243" y="2927470"/>
                      <a:pt x="214731" y="2878982"/>
                    </a:cubicBezTo>
                    <a:lnTo>
                      <a:pt x="942046" y="3613224"/>
                    </a:lnTo>
                    <a:cubicBezTo>
                      <a:pt x="845070" y="3710199"/>
                      <a:pt x="685754" y="3710199"/>
                      <a:pt x="581852" y="3613224"/>
                    </a:cubicBezTo>
                    <a:close/>
                    <a:moveTo>
                      <a:pt x="2022628" y="3010592"/>
                    </a:moveTo>
                    <a:cubicBezTo>
                      <a:pt x="2126530" y="3169908"/>
                      <a:pt x="2078042" y="3384639"/>
                      <a:pt x="1918726" y="3488541"/>
                    </a:cubicBezTo>
                    <a:cubicBezTo>
                      <a:pt x="1759409" y="3592443"/>
                      <a:pt x="1544678" y="3543956"/>
                      <a:pt x="1440776" y="3384639"/>
                    </a:cubicBezTo>
                    <a:lnTo>
                      <a:pt x="1357654" y="3253030"/>
                    </a:lnTo>
                    <a:lnTo>
                      <a:pt x="1932579" y="2872056"/>
                    </a:lnTo>
                    <a:lnTo>
                      <a:pt x="2022628" y="3010592"/>
                    </a:lnTo>
                    <a:close/>
                    <a:moveTo>
                      <a:pt x="3643501" y="1694498"/>
                    </a:moveTo>
                    <a:cubicBezTo>
                      <a:pt x="3643501" y="1729132"/>
                      <a:pt x="3622720" y="1770693"/>
                      <a:pt x="3595013" y="1791474"/>
                    </a:cubicBezTo>
                    <a:lnTo>
                      <a:pt x="3525745" y="1853815"/>
                    </a:lnTo>
                    <a:lnTo>
                      <a:pt x="3428770" y="1763766"/>
                    </a:lnTo>
                    <a:cubicBezTo>
                      <a:pt x="3407989" y="1742986"/>
                      <a:pt x="3366428" y="1736059"/>
                      <a:pt x="3338721" y="1756840"/>
                    </a:cubicBez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907412" y="3377713"/>
                    </a:lnTo>
                    <a:lnTo>
                      <a:pt x="422535" y="2892836"/>
                    </a:lnTo>
                    <a:lnTo>
                      <a:pt x="2008774" y="530795"/>
                    </a:lnTo>
                    <a:lnTo>
                      <a:pt x="3089356" y="1611377"/>
                    </a:lnTo>
                    <a:cubicBezTo>
                      <a:pt x="3117063" y="1639084"/>
                      <a:pt x="3158624" y="1639084"/>
                      <a:pt x="3186331" y="1611377"/>
                    </a:cubicBezTo>
                    <a:cubicBezTo>
                      <a:pt x="3214039" y="1583669"/>
                      <a:pt x="3214039" y="1542109"/>
                      <a:pt x="3186331" y="1514401"/>
                    </a:cubicBezTo>
                    <a:lnTo>
                      <a:pt x="2057262" y="378405"/>
                    </a:lnTo>
                    <a:lnTo>
                      <a:pt x="2057262" y="378405"/>
                    </a:lnTo>
                    <a:lnTo>
                      <a:pt x="1974140" y="295283"/>
                    </a:lnTo>
                    <a:lnTo>
                      <a:pt x="2119603" y="163674"/>
                    </a:lnTo>
                    <a:cubicBezTo>
                      <a:pt x="2147310" y="135967"/>
                      <a:pt x="2188871" y="135967"/>
                      <a:pt x="2216578" y="163674"/>
                    </a:cubicBezTo>
                    <a:lnTo>
                      <a:pt x="3615794" y="1597523"/>
                    </a:lnTo>
                    <a:cubicBezTo>
                      <a:pt x="3636574" y="1618303"/>
                      <a:pt x="3650428" y="1659864"/>
                      <a:pt x="3643501" y="169449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0AE2AADD-E89E-4F2E-B959-A30355383760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692680" cy="692680"/>
              </a:xfrm>
              <a:custGeom>
                <a:avLst/>
                <a:gdLst>
                  <a:gd name="connsiteX0" fmla="*/ 574925 w 692680"/>
                  <a:gd name="connsiteY0" fmla="*/ 20780 h 692680"/>
                  <a:gd name="connsiteX1" fmla="*/ 20780 w 692680"/>
                  <a:gd name="connsiteY1" fmla="*/ 574925 h 692680"/>
                  <a:gd name="connsiteX2" fmla="*/ 20780 w 692680"/>
                  <a:gd name="connsiteY2" fmla="*/ 671900 h 692680"/>
                  <a:gd name="connsiteX3" fmla="*/ 69268 w 692680"/>
                  <a:gd name="connsiteY3" fmla="*/ 692681 h 692680"/>
                  <a:gd name="connsiteX4" fmla="*/ 117756 w 692680"/>
                  <a:gd name="connsiteY4" fmla="*/ 671900 h 692680"/>
                  <a:gd name="connsiteX5" fmla="*/ 671900 w 692680"/>
                  <a:gd name="connsiteY5" fmla="*/ 117756 h 692680"/>
                  <a:gd name="connsiteX6" fmla="*/ 671900 w 692680"/>
                  <a:gd name="connsiteY6" fmla="*/ 20780 h 692680"/>
                  <a:gd name="connsiteX7" fmla="*/ 574925 w 692680"/>
                  <a:gd name="connsiteY7" fmla="*/ 20780 h 69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2680" h="692680">
                    <a:moveTo>
                      <a:pt x="574925" y="20780"/>
                    </a:moveTo>
                    <a:lnTo>
                      <a:pt x="20780" y="574925"/>
                    </a:lnTo>
                    <a:cubicBezTo>
                      <a:pt x="-6927" y="602632"/>
                      <a:pt x="-6927" y="644193"/>
                      <a:pt x="20780" y="671900"/>
                    </a:cubicBezTo>
                    <a:cubicBezTo>
                      <a:pt x="34634" y="685754"/>
                      <a:pt x="55414" y="692681"/>
                      <a:pt x="69268" y="692681"/>
                    </a:cubicBezTo>
                    <a:cubicBezTo>
                      <a:pt x="83122" y="692681"/>
                      <a:pt x="103902" y="685754"/>
                      <a:pt x="117756" y="671900"/>
                    </a:cubicBezTo>
                    <a:lnTo>
                      <a:pt x="671900" y="117756"/>
                    </a:lnTo>
                    <a:cubicBezTo>
                      <a:pt x="699607" y="90048"/>
                      <a:pt x="699607" y="48488"/>
                      <a:pt x="671900" y="20780"/>
                    </a:cubicBezTo>
                    <a:cubicBezTo>
                      <a:pt x="644193" y="-6927"/>
                      <a:pt x="602632" y="-6927"/>
                      <a:pt x="574925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9DAD7D44-723B-44E1-85ED-C86F673F9594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415608" cy="415608"/>
              </a:xfrm>
              <a:custGeom>
                <a:avLst/>
                <a:gdLst>
                  <a:gd name="connsiteX0" fmla="*/ 69268 w 415608"/>
                  <a:gd name="connsiteY0" fmla="*/ 415608 h 415608"/>
                  <a:gd name="connsiteX1" fmla="*/ 117756 w 415608"/>
                  <a:gd name="connsiteY1" fmla="*/ 394828 h 415608"/>
                  <a:gd name="connsiteX2" fmla="*/ 394828 w 415608"/>
                  <a:gd name="connsiteY2" fmla="*/ 117756 h 415608"/>
                  <a:gd name="connsiteX3" fmla="*/ 394828 w 415608"/>
                  <a:gd name="connsiteY3" fmla="*/ 20780 h 415608"/>
                  <a:gd name="connsiteX4" fmla="*/ 297853 w 415608"/>
                  <a:gd name="connsiteY4" fmla="*/ 20780 h 415608"/>
                  <a:gd name="connsiteX5" fmla="*/ 20780 w 415608"/>
                  <a:gd name="connsiteY5" fmla="*/ 297853 h 415608"/>
                  <a:gd name="connsiteX6" fmla="*/ 20780 w 415608"/>
                  <a:gd name="connsiteY6" fmla="*/ 394828 h 415608"/>
                  <a:gd name="connsiteX7" fmla="*/ 69268 w 415608"/>
                  <a:gd name="connsiteY7" fmla="*/ 415608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69268" y="415608"/>
                    </a:moveTo>
                    <a:cubicBezTo>
                      <a:pt x="90048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5A498CC-E0AA-4BA4-A309-E8BC689F7BA3}"/>
                  </a:ext>
                </a:extLst>
              </p:cNvPr>
              <p:cNvSpPr/>
              <p:nvPr/>
            </p:nvSpPr>
            <p:spPr>
              <a:xfrm>
                <a:off x="3077319" y="3711270"/>
                <a:ext cx="415608" cy="415608"/>
              </a:xfrm>
              <a:custGeom>
                <a:avLst/>
                <a:gdLst>
                  <a:gd name="connsiteX0" fmla="*/ 297853 w 415608"/>
                  <a:gd name="connsiteY0" fmla="*/ 20780 h 415608"/>
                  <a:gd name="connsiteX1" fmla="*/ 20780 w 415608"/>
                  <a:gd name="connsiteY1" fmla="*/ 297853 h 415608"/>
                  <a:gd name="connsiteX2" fmla="*/ 20780 w 415608"/>
                  <a:gd name="connsiteY2" fmla="*/ 394828 h 415608"/>
                  <a:gd name="connsiteX3" fmla="*/ 69268 w 415608"/>
                  <a:gd name="connsiteY3" fmla="*/ 415608 h 415608"/>
                  <a:gd name="connsiteX4" fmla="*/ 117756 w 415608"/>
                  <a:gd name="connsiteY4" fmla="*/ 394828 h 415608"/>
                  <a:gd name="connsiteX5" fmla="*/ 394828 w 415608"/>
                  <a:gd name="connsiteY5" fmla="*/ 117756 h 415608"/>
                  <a:gd name="connsiteX6" fmla="*/ 394828 w 415608"/>
                  <a:gd name="connsiteY6" fmla="*/ 20780 h 415608"/>
                  <a:gd name="connsiteX7" fmla="*/ 297853 w 415608"/>
                  <a:gd name="connsiteY7" fmla="*/ 20780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297853" y="20780"/>
                    </a:move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ubicBezTo>
                      <a:pt x="83122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1597449"/>
            <a:ext cx="1084580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894973"/>
            <a:ext cx="10845800" cy="65870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666756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3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963027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3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椭圆 15">
            <a:extLst>
              <a:ext uri="{FF2B5EF4-FFF2-40B4-BE49-F238E27FC236}">
                <a16:creationId xmlns:a16="http://schemas.microsoft.com/office/drawing/2014/main" id="{257F7A00-C0EE-41E8-8322-4BB112AF7FB1}"/>
              </a:ext>
            </a:extLst>
          </p:cNvPr>
          <p:cNvSpPr/>
          <p:nvPr userDrawn="1"/>
        </p:nvSpPr>
        <p:spPr>
          <a:xfrm>
            <a:off x="1871081" y="2086709"/>
            <a:ext cx="2945384" cy="2945384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981372" y="2664051"/>
            <a:ext cx="440776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982488" y="3559401"/>
            <a:ext cx="440776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3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A516A369-5E65-4C4F-B977-51475B677EC7}"/>
              </a:ext>
            </a:extLst>
          </p:cNvPr>
          <p:cNvGrpSpPr/>
          <p:nvPr userDrawn="1"/>
        </p:nvGrpSpPr>
        <p:grpSpPr>
          <a:xfrm rot="433328">
            <a:off x="1399299" y="2458018"/>
            <a:ext cx="2678014" cy="2697864"/>
            <a:chOff x="1273442" y="1794427"/>
            <a:chExt cx="4037688" cy="4067616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93DE205B-FE1C-44F9-B1E3-4D8BD981AC83}"/>
                </a:ext>
              </a:extLst>
            </p:cNvPr>
            <p:cNvGrpSpPr/>
            <p:nvPr/>
          </p:nvGrpSpPr>
          <p:grpSpPr>
            <a:xfrm rot="938189">
              <a:off x="1342154" y="2172610"/>
              <a:ext cx="3653050" cy="3689433"/>
              <a:chOff x="1342154" y="2172610"/>
              <a:chExt cx="3653050" cy="3689433"/>
            </a:xfrm>
            <a:solidFill>
              <a:srgbClr val="00F2A9"/>
            </a:solidFill>
          </p:grpSpPr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854C9F9B-EC70-49A2-84AF-290557D8F0AD}"/>
                  </a:ext>
                </a:extLst>
              </p:cNvPr>
              <p:cNvSpPr/>
              <p:nvPr/>
            </p:nvSpPr>
            <p:spPr>
              <a:xfrm>
                <a:off x="1342154" y="4916535"/>
                <a:ext cx="945509" cy="945508"/>
              </a:xfrm>
              <a:custGeom>
                <a:avLst/>
                <a:gdLst>
                  <a:gd name="connsiteX0" fmla="*/ 467559 w 945509"/>
                  <a:gd name="connsiteY0" fmla="*/ 851997 h 945508"/>
                  <a:gd name="connsiteX1" fmla="*/ 924729 w 945509"/>
                  <a:gd name="connsiteY1" fmla="*/ 851997 h 945508"/>
                  <a:gd name="connsiteX2" fmla="*/ 924729 w 945509"/>
                  <a:gd name="connsiteY2" fmla="*/ 755022 h 945508"/>
                  <a:gd name="connsiteX3" fmla="*/ 190487 w 945509"/>
                  <a:gd name="connsiteY3" fmla="*/ 20780 h 945508"/>
                  <a:gd name="connsiteX4" fmla="*/ 93512 w 945509"/>
                  <a:gd name="connsiteY4" fmla="*/ 20780 h 945508"/>
                  <a:gd name="connsiteX5" fmla="*/ 93512 w 945509"/>
                  <a:gd name="connsiteY5" fmla="*/ 477950 h 945508"/>
                  <a:gd name="connsiteX6" fmla="*/ 467559 w 945509"/>
                  <a:gd name="connsiteY6" fmla="*/ 851997 h 945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5509" h="945508">
                    <a:moveTo>
                      <a:pt x="467559" y="851997"/>
                    </a:moveTo>
                    <a:cubicBezTo>
                      <a:pt x="592242" y="976680"/>
                      <a:pt x="800046" y="976680"/>
                      <a:pt x="924729" y="851997"/>
                    </a:cubicBezTo>
                    <a:cubicBezTo>
                      <a:pt x="952436" y="824290"/>
                      <a:pt x="952436" y="782729"/>
                      <a:pt x="924729" y="755022"/>
                    </a:cubicBezTo>
                    <a:lnTo>
                      <a:pt x="190487" y="20780"/>
                    </a:lnTo>
                    <a:cubicBezTo>
                      <a:pt x="162780" y="-6927"/>
                      <a:pt x="121219" y="-6927"/>
                      <a:pt x="93512" y="20780"/>
                    </a:cubicBezTo>
                    <a:cubicBezTo>
                      <a:pt x="-31171" y="145463"/>
                      <a:pt x="-31171" y="353267"/>
                      <a:pt x="93512" y="477950"/>
                    </a:cubicBezTo>
                    <a:lnTo>
                      <a:pt x="467559" y="851997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CEEA3951-FF89-47FB-9A85-170E6B95FD2E}"/>
                  </a:ext>
                </a:extLst>
              </p:cNvPr>
              <p:cNvSpPr/>
              <p:nvPr/>
            </p:nvSpPr>
            <p:spPr>
              <a:xfrm>
                <a:off x="3174295" y="2172610"/>
                <a:ext cx="1820910" cy="1857293"/>
              </a:xfrm>
              <a:custGeom>
                <a:avLst/>
                <a:gdLst>
                  <a:gd name="connsiteX0" fmla="*/ 1586239 w 1820910"/>
                  <a:gd name="connsiteY0" fmla="*/ 1836513 h 1857293"/>
                  <a:gd name="connsiteX1" fmla="*/ 1683214 w 1820910"/>
                  <a:gd name="connsiteY1" fmla="*/ 1836513 h 1857293"/>
                  <a:gd name="connsiteX2" fmla="*/ 1752482 w 1820910"/>
                  <a:gd name="connsiteY2" fmla="*/ 1774172 h 1857293"/>
                  <a:gd name="connsiteX3" fmla="*/ 1759409 w 1820910"/>
                  <a:gd name="connsiteY3" fmla="*/ 1476319 h 1857293"/>
                  <a:gd name="connsiteX4" fmla="*/ 360194 w 1820910"/>
                  <a:gd name="connsiteY4" fmla="*/ 42470 h 1857293"/>
                  <a:gd name="connsiteX5" fmla="*/ 166243 w 1820910"/>
                  <a:gd name="connsiteY5" fmla="*/ 35543 h 1857293"/>
                  <a:gd name="connsiteX6" fmla="*/ 20781 w 1820910"/>
                  <a:gd name="connsiteY6" fmla="*/ 167153 h 1857293"/>
                  <a:gd name="connsiteX7" fmla="*/ 20781 w 1820910"/>
                  <a:gd name="connsiteY7" fmla="*/ 264128 h 1857293"/>
                  <a:gd name="connsiteX8" fmla="*/ 103902 w 1820910"/>
                  <a:gd name="connsiteY8" fmla="*/ 347250 h 1857293"/>
                  <a:gd name="connsiteX9" fmla="*/ 1489264 w 1820910"/>
                  <a:gd name="connsiteY9" fmla="*/ 1732611 h 1857293"/>
                  <a:gd name="connsiteX10" fmla="*/ 1586239 w 1820910"/>
                  <a:gd name="connsiteY10" fmla="*/ 1836513 h 185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0910" h="1857293">
                    <a:moveTo>
                      <a:pt x="1586239" y="1836513"/>
                    </a:moveTo>
                    <a:cubicBezTo>
                      <a:pt x="1613946" y="1864220"/>
                      <a:pt x="1655507" y="1864220"/>
                      <a:pt x="1683214" y="1836513"/>
                    </a:cubicBezTo>
                    <a:lnTo>
                      <a:pt x="1752482" y="1774172"/>
                    </a:lnTo>
                    <a:cubicBezTo>
                      <a:pt x="1842531" y="1697977"/>
                      <a:pt x="1842531" y="1559441"/>
                      <a:pt x="1759409" y="1476319"/>
                    </a:cubicBezTo>
                    <a:lnTo>
                      <a:pt x="360194" y="42470"/>
                    </a:lnTo>
                    <a:cubicBezTo>
                      <a:pt x="304780" y="-12944"/>
                      <a:pt x="221658" y="-12944"/>
                      <a:pt x="166243" y="35543"/>
                    </a:cubicBezTo>
                    <a:lnTo>
                      <a:pt x="20781" y="167153"/>
                    </a:lnTo>
                    <a:cubicBezTo>
                      <a:pt x="-6927" y="194860"/>
                      <a:pt x="-6927" y="236421"/>
                      <a:pt x="20781" y="264128"/>
                    </a:cubicBezTo>
                    <a:lnTo>
                      <a:pt x="103902" y="347250"/>
                    </a:lnTo>
                    <a:lnTo>
                      <a:pt x="1489264" y="1732611"/>
                    </a:lnTo>
                    <a:lnTo>
                      <a:pt x="1586239" y="1836513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7F37F6F9-7EEF-4C51-AACE-3F20F26E22D2}"/>
                </a:ext>
              </a:extLst>
            </p:cNvPr>
            <p:cNvGrpSpPr/>
            <p:nvPr/>
          </p:nvGrpSpPr>
          <p:grpSpPr>
            <a:xfrm rot="938189">
              <a:off x="1273442" y="1794427"/>
              <a:ext cx="4037688" cy="3885225"/>
              <a:chOff x="1276350" y="1772477"/>
              <a:chExt cx="4037688" cy="3885225"/>
            </a:xfrm>
            <a:solidFill>
              <a:srgbClr val="322153"/>
            </a:solidFill>
          </p:grpSpPr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C2AF9724-AC00-42B1-98F5-A8D04010D450}"/>
                  </a:ext>
                </a:extLst>
              </p:cNvPr>
              <p:cNvSpPr/>
              <p:nvPr/>
            </p:nvSpPr>
            <p:spPr>
              <a:xfrm rot="20858260">
                <a:off x="4603455" y="2110744"/>
                <a:ext cx="429463" cy="429463"/>
              </a:xfrm>
              <a:custGeom>
                <a:avLst/>
                <a:gdLst>
                  <a:gd name="connsiteX0" fmla="*/ 311706 w 429462"/>
                  <a:gd name="connsiteY0" fmla="*/ 20780 h 429462"/>
                  <a:gd name="connsiteX1" fmla="*/ 20781 w 429462"/>
                  <a:gd name="connsiteY1" fmla="*/ 311706 h 429462"/>
                  <a:gd name="connsiteX2" fmla="*/ 20781 w 429462"/>
                  <a:gd name="connsiteY2" fmla="*/ 408682 h 429462"/>
                  <a:gd name="connsiteX3" fmla="*/ 69268 w 429462"/>
                  <a:gd name="connsiteY3" fmla="*/ 429462 h 429462"/>
                  <a:gd name="connsiteX4" fmla="*/ 117756 w 429462"/>
                  <a:gd name="connsiteY4" fmla="*/ 408682 h 429462"/>
                  <a:gd name="connsiteX5" fmla="*/ 408682 w 429462"/>
                  <a:gd name="connsiteY5" fmla="*/ 117756 h 429462"/>
                  <a:gd name="connsiteX6" fmla="*/ 408682 w 429462"/>
                  <a:gd name="connsiteY6" fmla="*/ 20780 h 429462"/>
                  <a:gd name="connsiteX7" fmla="*/ 311706 w 429462"/>
                  <a:gd name="connsiteY7" fmla="*/ 2078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9462" h="429462">
                    <a:moveTo>
                      <a:pt x="311706" y="20780"/>
                    </a:moveTo>
                    <a:lnTo>
                      <a:pt x="20781" y="311706"/>
                    </a:lnTo>
                    <a:cubicBezTo>
                      <a:pt x="-6927" y="339414"/>
                      <a:pt x="-6927" y="380974"/>
                      <a:pt x="20781" y="408682"/>
                    </a:cubicBezTo>
                    <a:cubicBezTo>
                      <a:pt x="34634" y="422535"/>
                      <a:pt x="55415" y="429462"/>
                      <a:pt x="69268" y="429462"/>
                    </a:cubicBezTo>
                    <a:cubicBezTo>
                      <a:pt x="83122" y="429462"/>
                      <a:pt x="103902" y="422535"/>
                      <a:pt x="117756" y="408682"/>
                    </a:cubicBezTo>
                    <a:lnTo>
                      <a:pt x="408682" y="117756"/>
                    </a:lnTo>
                    <a:cubicBezTo>
                      <a:pt x="436389" y="90048"/>
                      <a:pt x="436389" y="48488"/>
                      <a:pt x="408682" y="20780"/>
                    </a:cubicBezTo>
                    <a:cubicBezTo>
                      <a:pt x="380974" y="-6927"/>
                      <a:pt x="332487" y="-6927"/>
                      <a:pt x="311706" y="2078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" name="任意多边形: 形状 7">
                <a:extLst>
                  <a:ext uri="{FF2B5EF4-FFF2-40B4-BE49-F238E27FC236}">
                    <a16:creationId xmlns:a16="http://schemas.microsoft.com/office/drawing/2014/main" id="{18E7C8EE-DF42-4AB5-9A0A-51758B784E29}"/>
                  </a:ext>
                </a:extLst>
              </p:cNvPr>
              <p:cNvSpPr/>
              <p:nvPr/>
            </p:nvSpPr>
            <p:spPr>
              <a:xfrm rot="20329061">
                <a:off x="4374356" y="1772477"/>
                <a:ext cx="267161" cy="414116"/>
              </a:xfrm>
              <a:custGeom>
                <a:avLst/>
                <a:gdLst>
                  <a:gd name="connsiteX0" fmla="*/ 60849 w 267161"/>
                  <a:gd name="connsiteY0" fmla="*/ 414116 h 414116"/>
                  <a:gd name="connsiteX1" fmla="*/ 123191 w 267161"/>
                  <a:gd name="connsiteY1" fmla="*/ 372556 h 414116"/>
                  <a:gd name="connsiteX2" fmla="*/ 261727 w 267161"/>
                  <a:gd name="connsiteY2" fmla="*/ 95483 h 414116"/>
                  <a:gd name="connsiteX3" fmla="*/ 234019 w 267161"/>
                  <a:gd name="connsiteY3" fmla="*/ 5435 h 414116"/>
                  <a:gd name="connsiteX4" fmla="*/ 143971 w 267161"/>
                  <a:gd name="connsiteY4" fmla="*/ 33142 h 414116"/>
                  <a:gd name="connsiteX5" fmla="*/ 5435 w 267161"/>
                  <a:gd name="connsiteY5" fmla="*/ 310214 h 414116"/>
                  <a:gd name="connsiteX6" fmla="*/ 33142 w 267161"/>
                  <a:gd name="connsiteY6" fmla="*/ 400263 h 414116"/>
                  <a:gd name="connsiteX7" fmla="*/ 60849 w 267161"/>
                  <a:gd name="connsiteY7" fmla="*/ 414116 h 41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7161" h="414116">
                    <a:moveTo>
                      <a:pt x="60849" y="414116"/>
                    </a:moveTo>
                    <a:cubicBezTo>
                      <a:pt x="88557" y="414116"/>
                      <a:pt x="109337" y="400263"/>
                      <a:pt x="123191" y="372556"/>
                    </a:cubicBezTo>
                    <a:lnTo>
                      <a:pt x="261727" y="95483"/>
                    </a:lnTo>
                    <a:cubicBezTo>
                      <a:pt x="275580" y="60849"/>
                      <a:pt x="261727" y="19288"/>
                      <a:pt x="234019" y="5435"/>
                    </a:cubicBezTo>
                    <a:cubicBezTo>
                      <a:pt x="199385" y="-8419"/>
                      <a:pt x="157825" y="5435"/>
                      <a:pt x="143971" y="33142"/>
                    </a:cubicBezTo>
                    <a:lnTo>
                      <a:pt x="5435" y="310214"/>
                    </a:lnTo>
                    <a:cubicBezTo>
                      <a:pt x="-8419" y="344848"/>
                      <a:pt x="5435" y="386409"/>
                      <a:pt x="33142" y="400263"/>
                    </a:cubicBezTo>
                    <a:cubicBezTo>
                      <a:pt x="40069" y="414116"/>
                      <a:pt x="46996" y="414116"/>
                      <a:pt x="60849" y="41411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FE01DD8D-28B6-43A9-829A-8D8E172B546F}"/>
                  </a:ext>
                </a:extLst>
              </p:cNvPr>
              <p:cNvSpPr/>
              <p:nvPr/>
            </p:nvSpPr>
            <p:spPr>
              <a:xfrm rot="1349930">
                <a:off x="4899683" y="2635497"/>
                <a:ext cx="414355" cy="275454"/>
              </a:xfrm>
              <a:custGeom>
                <a:avLst/>
                <a:gdLst>
                  <a:gd name="connsiteX0" fmla="*/ 314543 w 414355"/>
                  <a:gd name="connsiteY0" fmla="*/ 5309 h 275454"/>
                  <a:gd name="connsiteX1" fmla="*/ 37471 w 414355"/>
                  <a:gd name="connsiteY1" fmla="*/ 143845 h 275454"/>
                  <a:gd name="connsiteX2" fmla="*/ 9764 w 414355"/>
                  <a:gd name="connsiteY2" fmla="*/ 233893 h 275454"/>
                  <a:gd name="connsiteX3" fmla="*/ 72105 w 414355"/>
                  <a:gd name="connsiteY3" fmla="*/ 275454 h 275454"/>
                  <a:gd name="connsiteX4" fmla="*/ 99812 w 414355"/>
                  <a:gd name="connsiteY4" fmla="*/ 268527 h 275454"/>
                  <a:gd name="connsiteX5" fmla="*/ 376885 w 414355"/>
                  <a:gd name="connsiteY5" fmla="*/ 129991 h 275454"/>
                  <a:gd name="connsiteX6" fmla="*/ 404592 w 414355"/>
                  <a:gd name="connsiteY6" fmla="*/ 39943 h 275454"/>
                  <a:gd name="connsiteX7" fmla="*/ 314543 w 414355"/>
                  <a:gd name="connsiteY7" fmla="*/ 5309 h 27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355" h="275454">
                    <a:moveTo>
                      <a:pt x="314543" y="5309"/>
                    </a:moveTo>
                    <a:lnTo>
                      <a:pt x="37471" y="143845"/>
                    </a:lnTo>
                    <a:cubicBezTo>
                      <a:pt x="2837" y="157699"/>
                      <a:pt x="-11017" y="199259"/>
                      <a:pt x="9764" y="233893"/>
                    </a:cubicBezTo>
                    <a:cubicBezTo>
                      <a:pt x="23617" y="261601"/>
                      <a:pt x="44398" y="275454"/>
                      <a:pt x="72105" y="275454"/>
                    </a:cubicBezTo>
                    <a:cubicBezTo>
                      <a:pt x="85959" y="275454"/>
                      <a:pt x="92885" y="275454"/>
                      <a:pt x="99812" y="268527"/>
                    </a:cubicBezTo>
                    <a:lnTo>
                      <a:pt x="376885" y="129991"/>
                    </a:lnTo>
                    <a:cubicBezTo>
                      <a:pt x="411519" y="116138"/>
                      <a:pt x="425372" y="74577"/>
                      <a:pt x="404592" y="39943"/>
                    </a:cubicBezTo>
                    <a:cubicBezTo>
                      <a:pt x="383811" y="5309"/>
                      <a:pt x="349177" y="-8545"/>
                      <a:pt x="314543" y="530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任意多边形: 形状 9">
                <a:extLst>
                  <a:ext uri="{FF2B5EF4-FFF2-40B4-BE49-F238E27FC236}">
                    <a16:creationId xmlns:a16="http://schemas.microsoft.com/office/drawing/2014/main" id="{902E5E03-D063-4D58-87C0-6CD4152B161F}"/>
                  </a:ext>
                </a:extLst>
              </p:cNvPr>
              <p:cNvSpPr/>
              <p:nvPr/>
            </p:nvSpPr>
            <p:spPr>
              <a:xfrm>
                <a:off x="1276350" y="1829748"/>
                <a:ext cx="3795890" cy="3827954"/>
              </a:xfrm>
              <a:custGeom>
                <a:avLst/>
                <a:gdLst>
                  <a:gd name="connsiteX0" fmla="*/ 2015701 w 3795890"/>
                  <a:gd name="connsiteY0" fmla="*/ 59772 h 3827954"/>
                  <a:gd name="connsiteX1" fmla="*/ 1870238 w 3795890"/>
                  <a:gd name="connsiteY1" fmla="*/ 191381 h 3827954"/>
                  <a:gd name="connsiteX2" fmla="*/ 1828677 w 3795890"/>
                  <a:gd name="connsiteY2" fmla="*/ 288357 h 3827954"/>
                  <a:gd name="connsiteX3" fmla="*/ 1870238 w 3795890"/>
                  <a:gd name="connsiteY3" fmla="*/ 385332 h 3827954"/>
                  <a:gd name="connsiteX4" fmla="*/ 1911799 w 3795890"/>
                  <a:gd name="connsiteY4" fmla="*/ 426893 h 3827954"/>
                  <a:gd name="connsiteX5" fmla="*/ 325560 w 3795890"/>
                  <a:gd name="connsiteY5" fmla="*/ 2795861 h 3827954"/>
                  <a:gd name="connsiteX6" fmla="*/ 304780 w 3795890"/>
                  <a:gd name="connsiteY6" fmla="*/ 2782007 h 3827954"/>
                  <a:gd name="connsiteX7" fmla="*/ 207804 w 3795890"/>
                  <a:gd name="connsiteY7" fmla="*/ 2740446 h 3827954"/>
                  <a:gd name="connsiteX8" fmla="*/ 207804 w 3795890"/>
                  <a:gd name="connsiteY8" fmla="*/ 2740446 h 3827954"/>
                  <a:gd name="connsiteX9" fmla="*/ 110829 w 3795890"/>
                  <a:gd name="connsiteY9" fmla="*/ 2782007 h 3827954"/>
                  <a:gd name="connsiteX10" fmla="*/ 0 w 3795890"/>
                  <a:gd name="connsiteY10" fmla="*/ 3059079 h 3827954"/>
                  <a:gd name="connsiteX11" fmla="*/ 117756 w 3795890"/>
                  <a:gd name="connsiteY11" fmla="*/ 3336152 h 3827954"/>
                  <a:gd name="connsiteX12" fmla="*/ 491803 w 3795890"/>
                  <a:gd name="connsiteY12" fmla="*/ 3710199 h 3827954"/>
                  <a:gd name="connsiteX13" fmla="*/ 768876 w 3795890"/>
                  <a:gd name="connsiteY13" fmla="*/ 3827955 h 3827954"/>
                  <a:gd name="connsiteX14" fmla="*/ 1045948 w 3795890"/>
                  <a:gd name="connsiteY14" fmla="*/ 3710199 h 3827954"/>
                  <a:gd name="connsiteX15" fmla="*/ 1045948 w 3795890"/>
                  <a:gd name="connsiteY15" fmla="*/ 3516249 h 3827954"/>
                  <a:gd name="connsiteX16" fmla="*/ 1011314 w 3795890"/>
                  <a:gd name="connsiteY16" fmla="*/ 3481615 h 3827954"/>
                  <a:gd name="connsiteX17" fmla="*/ 1246825 w 3795890"/>
                  <a:gd name="connsiteY17" fmla="*/ 3329225 h 3827954"/>
                  <a:gd name="connsiteX18" fmla="*/ 1329947 w 3795890"/>
                  <a:gd name="connsiteY18" fmla="*/ 3460834 h 3827954"/>
                  <a:gd name="connsiteX19" fmla="*/ 1738629 w 3795890"/>
                  <a:gd name="connsiteY19" fmla="*/ 3682492 h 3827954"/>
                  <a:gd name="connsiteX20" fmla="*/ 2001847 w 3795890"/>
                  <a:gd name="connsiteY20" fmla="*/ 3606297 h 3827954"/>
                  <a:gd name="connsiteX21" fmla="*/ 2147310 w 3795890"/>
                  <a:gd name="connsiteY21" fmla="*/ 2934397 h 3827954"/>
                  <a:gd name="connsiteX22" fmla="*/ 2057262 w 3795890"/>
                  <a:gd name="connsiteY22" fmla="*/ 2788934 h 3827954"/>
                  <a:gd name="connsiteX23" fmla="*/ 3394136 w 3795890"/>
                  <a:gd name="connsiteY23" fmla="*/ 1902303 h 3827954"/>
                  <a:gd name="connsiteX24" fmla="*/ 3449550 w 3795890"/>
                  <a:gd name="connsiteY24" fmla="*/ 1957717 h 3827954"/>
                  <a:gd name="connsiteX25" fmla="*/ 3636574 w 3795890"/>
                  <a:gd name="connsiteY25" fmla="*/ 1957717 h 3827954"/>
                  <a:gd name="connsiteX26" fmla="*/ 3705842 w 3795890"/>
                  <a:gd name="connsiteY26" fmla="*/ 1895376 h 3827954"/>
                  <a:gd name="connsiteX27" fmla="*/ 3795890 w 3795890"/>
                  <a:gd name="connsiteY27" fmla="*/ 1701425 h 3827954"/>
                  <a:gd name="connsiteX28" fmla="*/ 3719696 w 3795890"/>
                  <a:gd name="connsiteY28" fmla="*/ 1500548 h 3827954"/>
                  <a:gd name="connsiteX29" fmla="*/ 2306627 w 3795890"/>
                  <a:gd name="connsiteY29" fmla="*/ 59772 h 3827954"/>
                  <a:gd name="connsiteX30" fmla="*/ 2015701 w 3795890"/>
                  <a:gd name="connsiteY30" fmla="*/ 59772 h 3827954"/>
                  <a:gd name="connsiteX31" fmla="*/ 581852 w 3795890"/>
                  <a:gd name="connsiteY31" fmla="*/ 3613224 h 3827954"/>
                  <a:gd name="connsiteX32" fmla="*/ 207804 w 3795890"/>
                  <a:gd name="connsiteY32" fmla="*/ 3239176 h 3827954"/>
                  <a:gd name="connsiteX33" fmla="*/ 138536 w 3795890"/>
                  <a:gd name="connsiteY33" fmla="*/ 3059079 h 3827954"/>
                  <a:gd name="connsiteX34" fmla="*/ 214731 w 3795890"/>
                  <a:gd name="connsiteY34" fmla="*/ 2878982 h 3827954"/>
                  <a:gd name="connsiteX35" fmla="*/ 942046 w 3795890"/>
                  <a:gd name="connsiteY35" fmla="*/ 3613224 h 3827954"/>
                  <a:gd name="connsiteX36" fmla="*/ 581852 w 3795890"/>
                  <a:gd name="connsiteY36" fmla="*/ 3613224 h 3827954"/>
                  <a:gd name="connsiteX37" fmla="*/ 2022628 w 3795890"/>
                  <a:gd name="connsiteY37" fmla="*/ 3010592 h 3827954"/>
                  <a:gd name="connsiteX38" fmla="*/ 1918726 w 3795890"/>
                  <a:gd name="connsiteY38" fmla="*/ 3488541 h 3827954"/>
                  <a:gd name="connsiteX39" fmla="*/ 1440776 w 3795890"/>
                  <a:gd name="connsiteY39" fmla="*/ 3384639 h 3827954"/>
                  <a:gd name="connsiteX40" fmla="*/ 1357654 w 3795890"/>
                  <a:gd name="connsiteY40" fmla="*/ 3253030 h 3827954"/>
                  <a:gd name="connsiteX41" fmla="*/ 1932579 w 3795890"/>
                  <a:gd name="connsiteY41" fmla="*/ 2872056 h 3827954"/>
                  <a:gd name="connsiteX42" fmla="*/ 2022628 w 3795890"/>
                  <a:gd name="connsiteY42" fmla="*/ 3010592 h 3827954"/>
                  <a:gd name="connsiteX43" fmla="*/ 3643501 w 3795890"/>
                  <a:gd name="connsiteY43" fmla="*/ 1694498 h 3827954"/>
                  <a:gd name="connsiteX44" fmla="*/ 3595013 w 3795890"/>
                  <a:gd name="connsiteY44" fmla="*/ 1791474 h 3827954"/>
                  <a:gd name="connsiteX45" fmla="*/ 3525745 w 3795890"/>
                  <a:gd name="connsiteY45" fmla="*/ 1853815 h 3827954"/>
                  <a:gd name="connsiteX46" fmla="*/ 3428770 w 3795890"/>
                  <a:gd name="connsiteY46" fmla="*/ 1763766 h 3827954"/>
                  <a:gd name="connsiteX47" fmla="*/ 3338721 w 3795890"/>
                  <a:gd name="connsiteY47" fmla="*/ 1756840 h 3827954"/>
                  <a:gd name="connsiteX48" fmla="*/ 1911799 w 3795890"/>
                  <a:gd name="connsiteY48" fmla="*/ 2712739 h 3827954"/>
                  <a:gd name="connsiteX49" fmla="*/ 1911799 w 3795890"/>
                  <a:gd name="connsiteY49" fmla="*/ 2712739 h 3827954"/>
                  <a:gd name="connsiteX50" fmla="*/ 1911799 w 3795890"/>
                  <a:gd name="connsiteY50" fmla="*/ 2712739 h 3827954"/>
                  <a:gd name="connsiteX51" fmla="*/ 1219118 w 3795890"/>
                  <a:gd name="connsiteY51" fmla="*/ 3169908 h 3827954"/>
                  <a:gd name="connsiteX52" fmla="*/ 1219118 w 3795890"/>
                  <a:gd name="connsiteY52" fmla="*/ 3169908 h 3827954"/>
                  <a:gd name="connsiteX53" fmla="*/ 1219118 w 3795890"/>
                  <a:gd name="connsiteY53" fmla="*/ 3169908 h 3827954"/>
                  <a:gd name="connsiteX54" fmla="*/ 907412 w 3795890"/>
                  <a:gd name="connsiteY54" fmla="*/ 3377713 h 3827954"/>
                  <a:gd name="connsiteX55" fmla="*/ 422535 w 3795890"/>
                  <a:gd name="connsiteY55" fmla="*/ 2892836 h 3827954"/>
                  <a:gd name="connsiteX56" fmla="*/ 2008774 w 3795890"/>
                  <a:gd name="connsiteY56" fmla="*/ 530795 h 3827954"/>
                  <a:gd name="connsiteX57" fmla="*/ 3089356 w 3795890"/>
                  <a:gd name="connsiteY57" fmla="*/ 1611377 h 3827954"/>
                  <a:gd name="connsiteX58" fmla="*/ 3186331 w 3795890"/>
                  <a:gd name="connsiteY58" fmla="*/ 1611377 h 3827954"/>
                  <a:gd name="connsiteX59" fmla="*/ 3186331 w 3795890"/>
                  <a:gd name="connsiteY59" fmla="*/ 1514401 h 3827954"/>
                  <a:gd name="connsiteX60" fmla="*/ 2057262 w 3795890"/>
                  <a:gd name="connsiteY60" fmla="*/ 378405 h 3827954"/>
                  <a:gd name="connsiteX61" fmla="*/ 2057262 w 3795890"/>
                  <a:gd name="connsiteY61" fmla="*/ 378405 h 3827954"/>
                  <a:gd name="connsiteX62" fmla="*/ 1974140 w 3795890"/>
                  <a:gd name="connsiteY62" fmla="*/ 295283 h 3827954"/>
                  <a:gd name="connsiteX63" fmla="*/ 2119603 w 3795890"/>
                  <a:gd name="connsiteY63" fmla="*/ 163674 h 3827954"/>
                  <a:gd name="connsiteX64" fmla="*/ 2216578 w 3795890"/>
                  <a:gd name="connsiteY64" fmla="*/ 163674 h 3827954"/>
                  <a:gd name="connsiteX65" fmla="*/ 3615794 w 3795890"/>
                  <a:gd name="connsiteY65" fmla="*/ 1597523 h 3827954"/>
                  <a:gd name="connsiteX66" fmla="*/ 3643501 w 3795890"/>
                  <a:gd name="connsiteY66" fmla="*/ 1694498 h 382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795890" h="3827954">
                    <a:moveTo>
                      <a:pt x="2015701" y="59772"/>
                    </a:moveTo>
                    <a:lnTo>
                      <a:pt x="1870238" y="191381"/>
                    </a:lnTo>
                    <a:cubicBezTo>
                      <a:pt x="1849458" y="219088"/>
                      <a:pt x="1828677" y="253723"/>
                      <a:pt x="1828677" y="288357"/>
                    </a:cubicBezTo>
                    <a:cubicBezTo>
                      <a:pt x="1828677" y="322991"/>
                      <a:pt x="1842531" y="364551"/>
                      <a:pt x="1870238" y="385332"/>
                    </a:cubicBezTo>
                    <a:lnTo>
                      <a:pt x="1911799" y="426893"/>
                    </a:lnTo>
                    <a:lnTo>
                      <a:pt x="325560" y="2795861"/>
                    </a:lnTo>
                    <a:lnTo>
                      <a:pt x="304780" y="2782007"/>
                    </a:lnTo>
                    <a:cubicBezTo>
                      <a:pt x="277072" y="2754300"/>
                      <a:pt x="242438" y="2740446"/>
                      <a:pt x="207804" y="2740446"/>
                    </a:cubicBezTo>
                    <a:lnTo>
                      <a:pt x="207804" y="2740446"/>
                    </a:lnTo>
                    <a:cubicBezTo>
                      <a:pt x="173170" y="2740446"/>
                      <a:pt x="138536" y="2754300"/>
                      <a:pt x="110829" y="2782007"/>
                    </a:cubicBezTo>
                    <a:cubicBezTo>
                      <a:pt x="41561" y="2851275"/>
                      <a:pt x="0" y="2955177"/>
                      <a:pt x="0" y="3059079"/>
                    </a:cubicBezTo>
                    <a:cubicBezTo>
                      <a:pt x="0" y="3162981"/>
                      <a:pt x="41561" y="3259957"/>
                      <a:pt x="117756" y="3336152"/>
                    </a:cubicBezTo>
                    <a:lnTo>
                      <a:pt x="491803" y="3710199"/>
                    </a:lnTo>
                    <a:cubicBezTo>
                      <a:pt x="567998" y="3786394"/>
                      <a:pt x="664974" y="3827955"/>
                      <a:pt x="768876" y="3827955"/>
                    </a:cubicBezTo>
                    <a:cubicBezTo>
                      <a:pt x="872778" y="3827955"/>
                      <a:pt x="969753" y="3786394"/>
                      <a:pt x="1045948" y="3710199"/>
                    </a:cubicBezTo>
                    <a:cubicBezTo>
                      <a:pt x="1101362" y="3654785"/>
                      <a:pt x="1101362" y="3571663"/>
                      <a:pt x="1045948" y="3516249"/>
                    </a:cubicBezTo>
                    <a:lnTo>
                      <a:pt x="1011314" y="3481615"/>
                    </a:lnTo>
                    <a:lnTo>
                      <a:pt x="1246825" y="3329225"/>
                    </a:lnTo>
                    <a:lnTo>
                      <a:pt x="1329947" y="3460834"/>
                    </a:lnTo>
                    <a:cubicBezTo>
                      <a:pt x="1419996" y="3606297"/>
                      <a:pt x="1579312" y="3682492"/>
                      <a:pt x="1738629" y="3682492"/>
                    </a:cubicBezTo>
                    <a:cubicBezTo>
                      <a:pt x="1828677" y="3682492"/>
                      <a:pt x="1918726" y="3654785"/>
                      <a:pt x="2001847" y="3606297"/>
                    </a:cubicBezTo>
                    <a:cubicBezTo>
                      <a:pt x="2223505" y="3460834"/>
                      <a:pt x="2292773" y="3162981"/>
                      <a:pt x="2147310" y="2934397"/>
                    </a:cubicBezTo>
                    <a:lnTo>
                      <a:pt x="2057262" y="2788934"/>
                    </a:lnTo>
                    <a:lnTo>
                      <a:pt x="3394136" y="1902303"/>
                    </a:lnTo>
                    <a:lnTo>
                      <a:pt x="3449550" y="1957717"/>
                    </a:lnTo>
                    <a:cubicBezTo>
                      <a:pt x="3504964" y="2006205"/>
                      <a:pt x="3588086" y="2013131"/>
                      <a:pt x="3636574" y="1957717"/>
                    </a:cubicBezTo>
                    <a:lnTo>
                      <a:pt x="3705842" y="1895376"/>
                    </a:lnTo>
                    <a:cubicBezTo>
                      <a:pt x="3761256" y="1846888"/>
                      <a:pt x="3795890" y="1777620"/>
                      <a:pt x="3795890" y="1701425"/>
                    </a:cubicBezTo>
                    <a:cubicBezTo>
                      <a:pt x="3795890" y="1625230"/>
                      <a:pt x="3768183" y="1555962"/>
                      <a:pt x="3719696" y="1500548"/>
                    </a:cubicBezTo>
                    <a:lnTo>
                      <a:pt x="2306627" y="59772"/>
                    </a:lnTo>
                    <a:cubicBezTo>
                      <a:pt x="2230432" y="-16423"/>
                      <a:pt x="2098823" y="-23350"/>
                      <a:pt x="2015701" y="59772"/>
                    </a:cubicBezTo>
                    <a:close/>
                    <a:moveTo>
                      <a:pt x="581852" y="3613224"/>
                    </a:moveTo>
                    <a:lnTo>
                      <a:pt x="207804" y="3239176"/>
                    </a:lnTo>
                    <a:cubicBezTo>
                      <a:pt x="159317" y="3190689"/>
                      <a:pt x="138536" y="3128347"/>
                      <a:pt x="138536" y="3059079"/>
                    </a:cubicBezTo>
                    <a:cubicBezTo>
                      <a:pt x="138536" y="2989811"/>
                      <a:pt x="166243" y="2927470"/>
                      <a:pt x="214731" y="2878982"/>
                    </a:cubicBezTo>
                    <a:lnTo>
                      <a:pt x="942046" y="3613224"/>
                    </a:lnTo>
                    <a:cubicBezTo>
                      <a:pt x="845070" y="3710199"/>
                      <a:pt x="685754" y="3710199"/>
                      <a:pt x="581852" y="3613224"/>
                    </a:cubicBezTo>
                    <a:close/>
                    <a:moveTo>
                      <a:pt x="2022628" y="3010592"/>
                    </a:moveTo>
                    <a:cubicBezTo>
                      <a:pt x="2126530" y="3169908"/>
                      <a:pt x="2078042" y="3384639"/>
                      <a:pt x="1918726" y="3488541"/>
                    </a:cubicBezTo>
                    <a:cubicBezTo>
                      <a:pt x="1759409" y="3592443"/>
                      <a:pt x="1544678" y="3543956"/>
                      <a:pt x="1440776" y="3384639"/>
                    </a:cubicBezTo>
                    <a:lnTo>
                      <a:pt x="1357654" y="3253030"/>
                    </a:lnTo>
                    <a:lnTo>
                      <a:pt x="1932579" y="2872056"/>
                    </a:lnTo>
                    <a:lnTo>
                      <a:pt x="2022628" y="3010592"/>
                    </a:lnTo>
                    <a:close/>
                    <a:moveTo>
                      <a:pt x="3643501" y="1694498"/>
                    </a:moveTo>
                    <a:cubicBezTo>
                      <a:pt x="3643501" y="1729132"/>
                      <a:pt x="3622720" y="1770693"/>
                      <a:pt x="3595013" y="1791474"/>
                    </a:cubicBezTo>
                    <a:lnTo>
                      <a:pt x="3525745" y="1853815"/>
                    </a:lnTo>
                    <a:lnTo>
                      <a:pt x="3428770" y="1763766"/>
                    </a:lnTo>
                    <a:cubicBezTo>
                      <a:pt x="3407989" y="1742986"/>
                      <a:pt x="3366428" y="1736059"/>
                      <a:pt x="3338721" y="1756840"/>
                    </a:cubicBez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907412" y="3377713"/>
                    </a:lnTo>
                    <a:lnTo>
                      <a:pt x="422535" y="2892836"/>
                    </a:lnTo>
                    <a:lnTo>
                      <a:pt x="2008774" y="530795"/>
                    </a:lnTo>
                    <a:lnTo>
                      <a:pt x="3089356" y="1611377"/>
                    </a:lnTo>
                    <a:cubicBezTo>
                      <a:pt x="3117063" y="1639084"/>
                      <a:pt x="3158624" y="1639084"/>
                      <a:pt x="3186331" y="1611377"/>
                    </a:cubicBezTo>
                    <a:cubicBezTo>
                      <a:pt x="3214039" y="1583669"/>
                      <a:pt x="3214039" y="1542109"/>
                      <a:pt x="3186331" y="1514401"/>
                    </a:cubicBezTo>
                    <a:lnTo>
                      <a:pt x="2057262" y="378405"/>
                    </a:lnTo>
                    <a:lnTo>
                      <a:pt x="2057262" y="378405"/>
                    </a:lnTo>
                    <a:lnTo>
                      <a:pt x="1974140" y="295283"/>
                    </a:lnTo>
                    <a:lnTo>
                      <a:pt x="2119603" y="163674"/>
                    </a:lnTo>
                    <a:cubicBezTo>
                      <a:pt x="2147310" y="135967"/>
                      <a:pt x="2188871" y="135967"/>
                      <a:pt x="2216578" y="163674"/>
                    </a:cubicBezTo>
                    <a:lnTo>
                      <a:pt x="3615794" y="1597523"/>
                    </a:lnTo>
                    <a:cubicBezTo>
                      <a:pt x="3636574" y="1618303"/>
                      <a:pt x="3650428" y="1659864"/>
                      <a:pt x="3643501" y="169449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" name="任意多边形: 形状 10">
                <a:extLst>
                  <a:ext uri="{FF2B5EF4-FFF2-40B4-BE49-F238E27FC236}">
                    <a16:creationId xmlns:a16="http://schemas.microsoft.com/office/drawing/2014/main" id="{906AB3F5-DC4E-4C05-B160-7720255641CD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692680" cy="692680"/>
              </a:xfrm>
              <a:custGeom>
                <a:avLst/>
                <a:gdLst>
                  <a:gd name="connsiteX0" fmla="*/ 574925 w 692680"/>
                  <a:gd name="connsiteY0" fmla="*/ 20780 h 692680"/>
                  <a:gd name="connsiteX1" fmla="*/ 20780 w 692680"/>
                  <a:gd name="connsiteY1" fmla="*/ 574925 h 692680"/>
                  <a:gd name="connsiteX2" fmla="*/ 20780 w 692680"/>
                  <a:gd name="connsiteY2" fmla="*/ 671900 h 692680"/>
                  <a:gd name="connsiteX3" fmla="*/ 69268 w 692680"/>
                  <a:gd name="connsiteY3" fmla="*/ 692681 h 692680"/>
                  <a:gd name="connsiteX4" fmla="*/ 117756 w 692680"/>
                  <a:gd name="connsiteY4" fmla="*/ 671900 h 692680"/>
                  <a:gd name="connsiteX5" fmla="*/ 671900 w 692680"/>
                  <a:gd name="connsiteY5" fmla="*/ 117756 h 692680"/>
                  <a:gd name="connsiteX6" fmla="*/ 671900 w 692680"/>
                  <a:gd name="connsiteY6" fmla="*/ 20780 h 692680"/>
                  <a:gd name="connsiteX7" fmla="*/ 574925 w 692680"/>
                  <a:gd name="connsiteY7" fmla="*/ 20780 h 69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2680" h="692680">
                    <a:moveTo>
                      <a:pt x="574925" y="20780"/>
                    </a:moveTo>
                    <a:lnTo>
                      <a:pt x="20780" y="574925"/>
                    </a:lnTo>
                    <a:cubicBezTo>
                      <a:pt x="-6927" y="602632"/>
                      <a:pt x="-6927" y="644193"/>
                      <a:pt x="20780" y="671900"/>
                    </a:cubicBezTo>
                    <a:cubicBezTo>
                      <a:pt x="34634" y="685754"/>
                      <a:pt x="55414" y="692681"/>
                      <a:pt x="69268" y="692681"/>
                    </a:cubicBezTo>
                    <a:cubicBezTo>
                      <a:pt x="83122" y="692681"/>
                      <a:pt x="103902" y="685754"/>
                      <a:pt x="117756" y="671900"/>
                    </a:cubicBezTo>
                    <a:lnTo>
                      <a:pt x="671900" y="117756"/>
                    </a:lnTo>
                    <a:cubicBezTo>
                      <a:pt x="699607" y="90048"/>
                      <a:pt x="699607" y="48488"/>
                      <a:pt x="671900" y="20780"/>
                    </a:cubicBezTo>
                    <a:cubicBezTo>
                      <a:pt x="644193" y="-6927"/>
                      <a:pt x="602632" y="-6927"/>
                      <a:pt x="574925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1B9DF079-7DED-4895-979B-7928A38A79B3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415608" cy="415608"/>
              </a:xfrm>
              <a:custGeom>
                <a:avLst/>
                <a:gdLst>
                  <a:gd name="connsiteX0" fmla="*/ 69268 w 415608"/>
                  <a:gd name="connsiteY0" fmla="*/ 415608 h 415608"/>
                  <a:gd name="connsiteX1" fmla="*/ 117756 w 415608"/>
                  <a:gd name="connsiteY1" fmla="*/ 394828 h 415608"/>
                  <a:gd name="connsiteX2" fmla="*/ 394828 w 415608"/>
                  <a:gd name="connsiteY2" fmla="*/ 117756 h 415608"/>
                  <a:gd name="connsiteX3" fmla="*/ 394828 w 415608"/>
                  <a:gd name="connsiteY3" fmla="*/ 20780 h 415608"/>
                  <a:gd name="connsiteX4" fmla="*/ 297853 w 415608"/>
                  <a:gd name="connsiteY4" fmla="*/ 20780 h 415608"/>
                  <a:gd name="connsiteX5" fmla="*/ 20780 w 415608"/>
                  <a:gd name="connsiteY5" fmla="*/ 297853 h 415608"/>
                  <a:gd name="connsiteX6" fmla="*/ 20780 w 415608"/>
                  <a:gd name="connsiteY6" fmla="*/ 394828 h 415608"/>
                  <a:gd name="connsiteX7" fmla="*/ 69268 w 415608"/>
                  <a:gd name="connsiteY7" fmla="*/ 415608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69268" y="415608"/>
                    </a:moveTo>
                    <a:cubicBezTo>
                      <a:pt x="90048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" name="任意多边形: 形状 12">
                <a:extLst>
                  <a:ext uri="{FF2B5EF4-FFF2-40B4-BE49-F238E27FC236}">
                    <a16:creationId xmlns:a16="http://schemas.microsoft.com/office/drawing/2014/main" id="{B45C5553-32FE-4F88-8335-89355930C5A3}"/>
                  </a:ext>
                </a:extLst>
              </p:cNvPr>
              <p:cNvSpPr/>
              <p:nvPr/>
            </p:nvSpPr>
            <p:spPr>
              <a:xfrm>
                <a:off x="3077319" y="3711270"/>
                <a:ext cx="415608" cy="415608"/>
              </a:xfrm>
              <a:custGeom>
                <a:avLst/>
                <a:gdLst>
                  <a:gd name="connsiteX0" fmla="*/ 297853 w 415608"/>
                  <a:gd name="connsiteY0" fmla="*/ 20780 h 415608"/>
                  <a:gd name="connsiteX1" fmla="*/ 20780 w 415608"/>
                  <a:gd name="connsiteY1" fmla="*/ 297853 h 415608"/>
                  <a:gd name="connsiteX2" fmla="*/ 20780 w 415608"/>
                  <a:gd name="connsiteY2" fmla="*/ 394828 h 415608"/>
                  <a:gd name="connsiteX3" fmla="*/ 69268 w 415608"/>
                  <a:gd name="connsiteY3" fmla="*/ 415608 h 415608"/>
                  <a:gd name="connsiteX4" fmla="*/ 117756 w 415608"/>
                  <a:gd name="connsiteY4" fmla="*/ 394828 h 415608"/>
                  <a:gd name="connsiteX5" fmla="*/ 394828 w 415608"/>
                  <a:gd name="connsiteY5" fmla="*/ 117756 h 415608"/>
                  <a:gd name="connsiteX6" fmla="*/ 394828 w 415608"/>
                  <a:gd name="connsiteY6" fmla="*/ 20780 h 415608"/>
                  <a:gd name="connsiteX7" fmla="*/ 297853 w 415608"/>
                  <a:gd name="connsiteY7" fmla="*/ 20780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297853" y="20780"/>
                    </a:move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ubicBezTo>
                      <a:pt x="83122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4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9CEAB12-34F0-4218-9C09-0B94BDD96C46}"/>
              </a:ext>
            </a:extLst>
          </p:cNvPr>
          <p:cNvGrpSpPr/>
          <p:nvPr userDrawn="1"/>
        </p:nvGrpSpPr>
        <p:grpSpPr>
          <a:xfrm>
            <a:off x="3162300" y="495300"/>
            <a:ext cx="5867400" cy="5867400"/>
            <a:chOff x="3162300" y="495300"/>
            <a:chExt cx="5867400" cy="5867400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00B02E77-0955-4CF7-ACA2-58671E9C9184}"/>
                </a:ext>
              </a:extLst>
            </p:cNvPr>
            <p:cNvGrpSpPr/>
            <p:nvPr userDrawn="1"/>
          </p:nvGrpSpPr>
          <p:grpSpPr>
            <a:xfrm>
              <a:off x="3162300" y="495300"/>
              <a:ext cx="5867400" cy="5867400"/>
              <a:chOff x="3688362" y="641754"/>
              <a:chExt cx="5574492" cy="5574492"/>
            </a:xfrm>
          </p:grpSpPr>
          <p:sp>
            <p:nvSpPr>
              <p:cNvPr id="7" name="椭圆 6">
                <a:extLst>
                  <a:ext uri="{FF2B5EF4-FFF2-40B4-BE49-F238E27FC236}">
                    <a16:creationId xmlns:a16="http://schemas.microsoft.com/office/drawing/2014/main" id="{84DA7CBD-705D-43EB-B9CE-9C3DA12BA9F2}"/>
                  </a:ext>
                </a:extLst>
              </p:cNvPr>
              <p:cNvSpPr/>
              <p:nvPr/>
            </p:nvSpPr>
            <p:spPr>
              <a:xfrm>
                <a:off x="3688362" y="641754"/>
                <a:ext cx="5574492" cy="5574492"/>
              </a:xfrm>
              <a:prstGeom prst="ellipse">
                <a:avLst/>
              </a:prstGeom>
              <a:solidFill>
                <a:schemeClr val="bg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ED2ED8C9-F5BD-4452-8C2E-5D87F00DDEE8}"/>
                  </a:ext>
                </a:extLst>
              </p:cNvPr>
              <p:cNvSpPr/>
              <p:nvPr/>
            </p:nvSpPr>
            <p:spPr>
              <a:xfrm>
                <a:off x="4195580" y="1148972"/>
                <a:ext cx="4560056" cy="456005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D5956620-EDAD-4EEA-B898-A603A5CE169C}"/>
                </a:ext>
              </a:extLst>
            </p:cNvPr>
            <p:cNvSpPr/>
            <p:nvPr userDrawn="1"/>
          </p:nvSpPr>
          <p:spPr>
            <a:xfrm>
              <a:off x="3556000" y="889000"/>
              <a:ext cx="5080000" cy="5080000"/>
            </a:xfrm>
            <a:prstGeom prst="ellipse">
              <a:avLst/>
            </a:prstGeom>
            <a:noFill/>
            <a:ln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302A4F8E-48CE-406B-AC8F-C8C898ED662E}"/>
              </a:ext>
            </a:extLst>
          </p:cNvPr>
          <p:cNvGrpSpPr/>
          <p:nvPr userDrawn="1"/>
        </p:nvGrpSpPr>
        <p:grpSpPr>
          <a:xfrm rot="433328">
            <a:off x="1398811" y="1644204"/>
            <a:ext cx="4060849" cy="4669308"/>
            <a:chOff x="1342154" y="962181"/>
            <a:chExt cx="4261359" cy="4899862"/>
          </a:xfrm>
        </p:grpSpPr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C38B004-9FD3-4270-85D9-8A368EC10E4D}"/>
                </a:ext>
              </a:extLst>
            </p:cNvPr>
            <p:cNvGrpSpPr/>
            <p:nvPr/>
          </p:nvGrpSpPr>
          <p:grpSpPr>
            <a:xfrm rot="938189">
              <a:off x="1342154" y="2172610"/>
              <a:ext cx="3653050" cy="3689433"/>
              <a:chOff x="1342154" y="2172610"/>
              <a:chExt cx="3653050" cy="3689433"/>
            </a:xfrm>
            <a:solidFill>
              <a:srgbClr val="00F2A9"/>
            </a:solidFill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B8EE1613-589B-43D1-8609-0B86A943519B}"/>
                  </a:ext>
                </a:extLst>
              </p:cNvPr>
              <p:cNvSpPr/>
              <p:nvPr/>
            </p:nvSpPr>
            <p:spPr>
              <a:xfrm>
                <a:off x="1342154" y="4916535"/>
                <a:ext cx="945509" cy="945508"/>
              </a:xfrm>
              <a:custGeom>
                <a:avLst/>
                <a:gdLst>
                  <a:gd name="connsiteX0" fmla="*/ 467559 w 945509"/>
                  <a:gd name="connsiteY0" fmla="*/ 851997 h 945508"/>
                  <a:gd name="connsiteX1" fmla="*/ 924729 w 945509"/>
                  <a:gd name="connsiteY1" fmla="*/ 851997 h 945508"/>
                  <a:gd name="connsiteX2" fmla="*/ 924729 w 945509"/>
                  <a:gd name="connsiteY2" fmla="*/ 755022 h 945508"/>
                  <a:gd name="connsiteX3" fmla="*/ 190487 w 945509"/>
                  <a:gd name="connsiteY3" fmla="*/ 20780 h 945508"/>
                  <a:gd name="connsiteX4" fmla="*/ 93512 w 945509"/>
                  <a:gd name="connsiteY4" fmla="*/ 20780 h 945508"/>
                  <a:gd name="connsiteX5" fmla="*/ 93512 w 945509"/>
                  <a:gd name="connsiteY5" fmla="*/ 477950 h 945508"/>
                  <a:gd name="connsiteX6" fmla="*/ 467559 w 945509"/>
                  <a:gd name="connsiteY6" fmla="*/ 851997 h 945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5509" h="945508">
                    <a:moveTo>
                      <a:pt x="467559" y="851997"/>
                    </a:moveTo>
                    <a:cubicBezTo>
                      <a:pt x="592242" y="976680"/>
                      <a:pt x="800046" y="976680"/>
                      <a:pt x="924729" y="851997"/>
                    </a:cubicBezTo>
                    <a:cubicBezTo>
                      <a:pt x="952436" y="824290"/>
                      <a:pt x="952436" y="782729"/>
                      <a:pt x="924729" y="755022"/>
                    </a:cubicBezTo>
                    <a:lnTo>
                      <a:pt x="190487" y="20780"/>
                    </a:lnTo>
                    <a:cubicBezTo>
                      <a:pt x="162780" y="-6927"/>
                      <a:pt x="121219" y="-6927"/>
                      <a:pt x="93512" y="20780"/>
                    </a:cubicBezTo>
                    <a:cubicBezTo>
                      <a:pt x="-31171" y="145463"/>
                      <a:pt x="-31171" y="353267"/>
                      <a:pt x="93512" y="477950"/>
                    </a:cubicBezTo>
                    <a:lnTo>
                      <a:pt x="467559" y="851997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5F3B791B-E711-45BF-86C8-D534CCA0D0DD}"/>
                  </a:ext>
                </a:extLst>
              </p:cNvPr>
              <p:cNvSpPr/>
              <p:nvPr/>
            </p:nvSpPr>
            <p:spPr>
              <a:xfrm>
                <a:off x="3174295" y="2172610"/>
                <a:ext cx="1820910" cy="1857293"/>
              </a:xfrm>
              <a:custGeom>
                <a:avLst/>
                <a:gdLst>
                  <a:gd name="connsiteX0" fmla="*/ 1586239 w 1820910"/>
                  <a:gd name="connsiteY0" fmla="*/ 1836513 h 1857293"/>
                  <a:gd name="connsiteX1" fmla="*/ 1683214 w 1820910"/>
                  <a:gd name="connsiteY1" fmla="*/ 1836513 h 1857293"/>
                  <a:gd name="connsiteX2" fmla="*/ 1752482 w 1820910"/>
                  <a:gd name="connsiteY2" fmla="*/ 1774172 h 1857293"/>
                  <a:gd name="connsiteX3" fmla="*/ 1759409 w 1820910"/>
                  <a:gd name="connsiteY3" fmla="*/ 1476319 h 1857293"/>
                  <a:gd name="connsiteX4" fmla="*/ 360194 w 1820910"/>
                  <a:gd name="connsiteY4" fmla="*/ 42470 h 1857293"/>
                  <a:gd name="connsiteX5" fmla="*/ 166243 w 1820910"/>
                  <a:gd name="connsiteY5" fmla="*/ 35543 h 1857293"/>
                  <a:gd name="connsiteX6" fmla="*/ 20781 w 1820910"/>
                  <a:gd name="connsiteY6" fmla="*/ 167153 h 1857293"/>
                  <a:gd name="connsiteX7" fmla="*/ 20781 w 1820910"/>
                  <a:gd name="connsiteY7" fmla="*/ 264128 h 1857293"/>
                  <a:gd name="connsiteX8" fmla="*/ 103902 w 1820910"/>
                  <a:gd name="connsiteY8" fmla="*/ 347250 h 1857293"/>
                  <a:gd name="connsiteX9" fmla="*/ 1489264 w 1820910"/>
                  <a:gd name="connsiteY9" fmla="*/ 1732611 h 1857293"/>
                  <a:gd name="connsiteX10" fmla="*/ 1586239 w 1820910"/>
                  <a:gd name="connsiteY10" fmla="*/ 1836513 h 185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0910" h="1857293">
                    <a:moveTo>
                      <a:pt x="1586239" y="1836513"/>
                    </a:moveTo>
                    <a:cubicBezTo>
                      <a:pt x="1613946" y="1864220"/>
                      <a:pt x="1655507" y="1864220"/>
                      <a:pt x="1683214" y="1836513"/>
                    </a:cubicBezTo>
                    <a:lnTo>
                      <a:pt x="1752482" y="1774172"/>
                    </a:lnTo>
                    <a:cubicBezTo>
                      <a:pt x="1842531" y="1697977"/>
                      <a:pt x="1842531" y="1559441"/>
                      <a:pt x="1759409" y="1476319"/>
                    </a:cubicBezTo>
                    <a:lnTo>
                      <a:pt x="360194" y="42470"/>
                    </a:lnTo>
                    <a:cubicBezTo>
                      <a:pt x="304780" y="-12944"/>
                      <a:pt x="221658" y="-12944"/>
                      <a:pt x="166243" y="35543"/>
                    </a:cubicBezTo>
                    <a:lnTo>
                      <a:pt x="20781" y="167153"/>
                    </a:lnTo>
                    <a:cubicBezTo>
                      <a:pt x="-6927" y="194860"/>
                      <a:pt x="-6927" y="236421"/>
                      <a:pt x="20781" y="264128"/>
                    </a:cubicBezTo>
                    <a:lnTo>
                      <a:pt x="103902" y="347250"/>
                    </a:lnTo>
                    <a:lnTo>
                      <a:pt x="1489264" y="1732611"/>
                    </a:lnTo>
                    <a:lnTo>
                      <a:pt x="1586239" y="1836513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387FA23B-26AD-4A50-83B9-90C868F7EED1}"/>
                </a:ext>
              </a:extLst>
            </p:cNvPr>
            <p:cNvGrpSpPr/>
            <p:nvPr/>
          </p:nvGrpSpPr>
          <p:grpSpPr>
            <a:xfrm rot="938189">
              <a:off x="1387716" y="962181"/>
              <a:ext cx="4215797" cy="4757617"/>
              <a:chOff x="1276350" y="900085"/>
              <a:chExt cx="4215797" cy="4757617"/>
            </a:xfrm>
            <a:solidFill>
              <a:srgbClr val="322153"/>
            </a:solidFill>
          </p:grpSpPr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DC0B5073-AA42-48B5-97D4-5B974D4B1ECB}"/>
                  </a:ext>
                </a:extLst>
              </p:cNvPr>
              <p:cNvSpPr/>
              <p:nvPr/>
            </p:nvSpPr>
            <p:spPr>
              <a:xfrm rot="19881761">
                <a:off x="4093954" y="900085"/>
                <a:ext cx="429462" cy="429462"/>
              </a:xfrm>
              <a:custGeom>
                <a:avLst/>
                <a:gdLst>
                  <a:gd name="connsiteX0" fmla="*/ 311706 w 429462"/>
                  <a:gd name="connsiteY0" fmla="*/ 20780 h 429462"/>
                  <a:gd name="connsiteX1" fmla="*/ 20781 w 429462"/>
                  <a:gd name="connsiteY1" fmla="*/ 311706 h 429462"/>
                  <a:gd name="connsiteX2" fmla="*/ 20781 w 429462"/>
                  <a:gd name="connsiteY2" fmla="*/ 408682 h 429462"/>
                  <a:gd name="connsiteX3" fmla="*/ 69268 w 429462"/>
                  <a:gd name="connsiteY3" fmla="*/ 429462 h 429462"/>
                  <a:gd name="connsiteX4" fmla="*/ 117756 w 429462"/>
                  <a:gd name="connsiteY4" fmla="*/ 408682 h 429462"/>
                  <a:gd name="connsiteX5" fmla="*/ 408682 w 429462"/>
                  <a:gd name="connsiteY5" fmla="*/ 117756 h 429462"/>
                  <a:gd name="connsiteX6" fmla="*/ 408682 w 429462"/>
                  <a:gd name="connsiteY6" fmla="*/ 20780 h 429462"/>
                  <a:gd name="connsiteX7" fmla="*/ 311706 w 429462"/>
                  <a:gd name="connsiteY7" fmla="*/ 2078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9462" h="429462">
                    <a:moveTo>
                      <a:pt x="311706" y="20780"/>
                    </a:moveTo>
                    <a:lnTo>
                      <a:pt x="20781" y="311706"/>
                    </a:lnTo>
                    <a:cubicBezTo>
                      <a:pt x="-6927" y="339414"/>
                      <a:pt x="-6927" y="380974"/>
                      <a:pt x="20781" y="408682"/>
                    </a:cubicBezTo>
                    <a:cubicBezTo>
                      <a:pt x="34634" y="422535"/>
                      <a:pt x="55415" y="429462"/>
                      <a:pt x="69268" y="429462"/>
                    </a:cubicBezTo>
                    <a:cubicBezTo>
                      <a:pt x="83122" y="429462"/>
                      <a:pt x="103902" y="422535"/>
                      <a:pt x="117756" y="408682"/>
                    </a:cubicBezTo>
                    <a:lnTo>
                      <a:pt x="408682" y="117756"/>
                    </a:lnTo>
                    <a:cubicBezTo>
                      <a:pt x="436389" y="90048"/>
                      <a:pt x="436389" y="48488"/>
                      <a:pt x="408682" y="20780"/>
                    </a:cubicBezTo>
                    <a:cubicBezTo>
                      <a:pt x="380974" y="-6927"/>
                      <a:pt x="332487" y="-6927"/>
                      <a:pt x="311706" y="2078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8C62975A-6867-4327-9B94-232DD38D8CE1}"/>
                  </a:ext>
                </a:extLst>
              </p:cNvPr>
              <p:cNvSpPr/>
              <p:nvPr/>
            </p:nvSpPr>
            <p:spPr>
              <a:xfrm rot="20329061">
                <a:off x="3865853" y="1151328"/>
                <a:ext cx="267161" cy="414116"/>
              </a:xfrm>
              <a:custGeom>
                <a:avLst/>
                <a:gdLst>
                  <a:gd name="connsiteX0" fmla="*/ 60849 w 267161"/>
                  <a:gd name="connsiteY0" fmla="*/ 414116 h 414116"/>
                  <a:gd name="connsiteX1" fmla="*/ 123191 w 267161"/>
                  <a:gd name="connsiteY1" fmla="*/ 372556 h 414116"/>
                  <a:gd name="connsiteX2" fmla="*/ 261727 w 267161"/>
                  <a:gd name="connsiteY2" fmla="*/ 95483 h 414116"/>
                  <a:gd name="connsiteX3" fmla="*/ 234019 w 267161"/>
                  <a:gd name="connsiteY3" fmla="*/ 5435 h 414116"/>
                  <a:gd name="connsiteX4" fmla="*/ 143971 w 267161"/>
                  <a:gd name="connsiteY4" fmla="*/ 33142 h 414116"/>
                  <a:gd name="connsiteX5" fmla="*/ 5435 w 267161"/>
                  <a:gd name="connsiteY5" fmla="*/ 310214 h 414116"/>
                  <a:gd name="connsiteX6" fmla="*/ 33142 w 267161"/>
                  <a:gd name="connsiteY6" fmla="*/ 400263 h 414116"/>
                  <a:gd name="connsiteX7" fmla="*/ 60849 w 267161"/>
                  <a:gd name="connsiteY7" fmla="*/ 414116 h 41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7161" h="414116">
                    <a:moveTo>
                      <a:pt x="60849" y="414116"/>
                    </a:moveTo>
                    <a:cubicBezTo>
                      <a:pt x="88557" y="414116"/>
                      <a:pt x="109337" y="400263"/>
                      <a:pt x="123191" y="372556"/>
                    </a:cubicBezTo>
                    <a:lnTo>
                      <a:pt x="261727" y="95483"/>
                    </a:lnTo>
                    <a:cubicBezTo>
                      <a:pt x="275580" y="60849"/>
                      <a:pt x="261727" y="19288"/>
                      <a:pt x="234019" y="5435"/>
                    </a:cubicBezTo>
                    <a:cubicBezTo>
                      <a:pt x="199385" y="-8419"/>
                      <a:pt x="157825" y="5435"/>
                      <a:pt x="143971" y="33142"/>
                    </a:cubicBezTo>
                    <a:lnTo>
                      <a:pt x="5435" y="310214"/>
                    </a:lnTo>
                    <a:cubicBezTo>
                      <a:pt x="-8419" y="344848"/>
                      <a:pt x="5435" y="386409"/>
                      <a:pt x="33142" y="400263"/>
                    </a:cubicBezTo>
                    <a:cubicBezTo>
                      <a:pt x="40069" y="414116"/>
                      <a:pt x="46996" y="414116"/>
                      <a:pt x="60849" y="41411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FECCE9C9-A329-44D2-9865-5A90F6AB425A}"/>
                  </a:ext>
                </a:extLst>
              </p:cNvPr>
              <p:cNvSpPr/>
              <p:nvPr/>
            </p:nvSpPr>
            <p:spPr>
              <a:xfrm rot="1349930">
                <a:off x="5077792" y="2973570"/>
                <a:ext cx="414355" cy="275454"/>
              </a:xfrm>
              <a:custGeom>
                <a:avLst/>
                <a:gdLst>
                  <a:gd name="connsiteX0" fmla="*/ 314543 w 414355"/>
                  <a:gd name="connsiteY0" fmla="*/ 5309 h 275454"/>
                  <a:gd name="connsiteX1" fmla="*/ 37471 w 414355"/>
                  <a:gd name="connsiteY1" fmla="*/ 143845 h 275454"/>
                  <a:gd name="connsiteX2" fmla="*/ 9764 w 414355"/>
                  <a:gd name="connsiteY2" fmla="*/ 233893 h 275454"/>
                  <a:gd name="connsiteX3" fmla="*/ 72105 w 414355"/>
                  <a:gd name="connsiteY3" fmla="*/ 275454 h 275454"/>
                  <a:gd name="connsiteX4" fmla="*/ 99812 w 414355"/>
                  <a:gd name="connsiteY4" fmla="*/ 268527 h 275454"/>
                  <a:gd name="connsiteX5" fmla="*/ 376885 w 414355"/>
                  <a:gd name="connsiteY5" fmla="*/ 129991 h 275454"/>
                  <a:gd name="connsiteX6" fmla="*/ 404592 w 414355"/>
                  <a:gd name="connsiteY6" fmla="*/ 39943 h 275454"/>
                  <a:gd name="connsiteX7" fmla="*/ 314543 w 414355"/>
                  <a:gd name="connsiteY7" fmla="*/ 5309 h 27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355" h="275454">
                    <a:moveTo>
                      <a:pt x="314543" y="5309"/>
                    </a:moveTo>
                    <a:lnTo>
                      <a:pt x="37471" y="143845"/>
                    </a:lnTo>
                    <a:cubicBezTo>
                      <a:pt x="2837" y="157699"/>
                      <a:pt x="-11017" y="199259"/>
                      <a:pt x="9764" y="233893"/>
                    </a:cubicBezTo>
                    <a:cubicBezTo>
                      <a:pt x="23617" y="261601"/>
                      <a:pt x="44398" y="275454"/>
                      <a:pt x="72105" y="275454"/>
                    </a:cubicBezTo>
                    <a:cubicBezTo>
                      <a:pt x="85959" y="275454"/>
                      <a:pt x="92885" y="275454"/>
                      <a:pt x="99812" y="268527"/>
                    </a:cubicBezTo>
                    <a:lnTo>
                      <a:pt x="376885" y="129991"/>
                    </a:lnTo>
                    <a:cubicBezTo>
                      <a:pt x="411519" y="116138"/>
                      <a:pt x="425372" y="74577"/>
                      <a:pt x="404592" y="39943"/>
                    </a:cubicBezTo>
                    <a:cubicBezTo>
                      <a:pt x="383811" y="5309"/>
                      <a:pt x="349177" y="-8545"/>
                      <a:pt x="314543" y="530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BB953120-8037-467F-866F-6A8B7157C19A}"/>
                  </a:ext>
                </a:extLst>
              </p:cNvPr>
              <p:cNvSpPr/>
              <p:nvPr/>
            </p:nvSpPr>
            <p:spPr>
              <a:xfrm>
                <a:off x="1276350" y="1829748"/>
                <a:ext cx="3795890" cy="3827954"/>
              </a:xfrm>
              <a:custGeom>
                <a:avLst/>
                <a:gdLst>
                  <a:gd name="connsiteX0" fmla="*/ 2015701 w 3795890"/>
                  <a:gd name="connsiteY0" fmla="*/ 59772 h 3827954"/>
                  <a:gd name="connsiteX1" fmla="*/ 1870238 w 3795890"/>
                  <a:gd name="connsiteY1" fmla="*/ 191381 h 3827954"/>
                  <a:gd name="connsiteX2" fmla="*/ 1828677 w 3795890"/>
                  <a:gd name="connsiteY2" fmla="*/ 288357 h 3827954"/>
                  <a:gd name="connsiteX3" fmla="*/ 1870238 w 3795890"/>
                  <a:gd name="connsiteY3" fmla="*/ 385332 h 3827954"/>
                  <a:gd name="connsiteX4" fmla="*/ 1911799 w 3795890"/>
                  <a:gd name="connsiteY4" fmla="*/ 426893 h 3827954"/>
                  <a:gd name="connsiteX5" fmla="*/ 325560 w 3795890"/>
                  <a:gd name="connsiteY5" fmla="*/ 2795861 h 3827954"/>
                  <a:gd name="connsiteX6" fmla="*/ 304780 w 3795890"/>
                  <a:gd name="connsiteY6" fmla="*/ 2782007 h 3827954"/>
                  <a:gd name="connsiteX7" fmla="*/ 207804 w 3795890"/>
                  <a:gd name="connsiteY7" fmla="*/ 2740446 h 3827954"/>
                  <a:gd name="connsiteX8" fmla="*/ 207804 w 3795890"/>
                  <a:gd name="connsiteY8" fmla="*/ 2740446 h 3827954"/>
                  <a:gd name="connsiteX9" fmla="*/ 110829 w 3795890"/>
                  <a:gd name="connsiteY9" fmla="*/ 2782007 h 3827954"/>
                  <a:gd name="connsiteX10" fmla="*/ 0 w 3795890"/>
                  <a:gd name="connsiteY10" fmla="*/ 3059079 h 3827954"/>
                  <a:gd name="connsiteX11" fmla="*/ 117756 w 3795890"/>
                  <a:gd name="connsiteY11" fmla="*/ 3336152 h 3827954"/>
                  <a:gd name="connsiteX12" fmla="*/ 491803 w 3795890"/>
                  <a:gd name="connsiteY12" fmla="*/ 3710199 h 3827954"/>
                  <a:gd name="connsiteX13" fmla="*/ 768876 w 3795890"/>
                  <a:gd name="connsiteY13" fmla="*/ 3827955 h 3827954"/>
                  <a:gd name="connsiteX14" fmla="*/ 1045948 w 3795890"/>
                  <a:gd name="connsiteY14" fmla="*/ 3710199 h 3827954"/>
                  <a:gd name="connsiteX15" fmla="*/ 1045948 w 3795890"/>
                  <a:gd name="connsiteY15" fmla="*/ 3516249 h 3827954"/>
                  <a:gd name="connsiteX16" fmla="*/ 1011314 w 3795890"/>
                  <a:gd name="connsiteY16" fmla="*/ 3481615 h 3827954"/>
                  <a:gd name="connsiteX17" fmla="*/ 1246825 w 3795890"/>
                  <a:gd name="connsiteY17" fmla="*/ 3329225 h 3827954"/>
                  <a:gd name="connsiteX18" fmla="*/ 1329947 w 3795890"/>
                  <a:gd name="connsiteY18" fmla="*/ 3460834 h 3827954"/>
                  <a:gd name="connsiteX19" fmla="*/ 1738629 w 3795890"/>
                  <a:gd name="connsiteY19" fmla="*/ 3682492 h 3827954"/>
                  <a:gd name="connsiteX20" fmla="*/ 2001847 w 3795890"/>
                  <a:gd name="connsiteY20" fmla="*/ 3606297 h 3827954"/>
                  <a:gd name="connsiteX21" fmla="*/ 2147310 w 3795890"/>
                  <a:gd name="connsiteY21" fmla="*/ 2934397 h 3827954"/>
                  <a:gd name="connsiteX22" fmla="*/ 2057262 w 3795890"/>
                  <a:gd name="connsiteY22" fmla="*/ 2788934 h 3827954"/>
                  <a:gd name="connsiteX23" fmla="*/ 3394136 w 3795890"/>
                  <a:gd name="connsiteY23" fmla="*/ 1902303 h 3827954"/>
                  <a:gd name="connsiteX24" fmla="*/ 3449550 w 3795890"/>
                  <a:gd name="connsiteY24" fmla="*/ 1957717 h 3827954"/>
                  <a:gd name="connsiteX25" fmla="*/ 3636574 w 3795890"/>
                  <a:gd name="connsiteY25" fmla="*/ 1957717 h 3827954"/>
                  <a:gd name="connsiteX26" fmla="*/ 3705842 w 3795890"/>
                  <a:gd name="connsiteY26" fmla="*/ 1895376 h 3827954"/>
                  <a:gd name="connsiteX27" fmla="*/ 3795890 w 3795890"/>
                  <a:gd name="connsiteY27" fmla="*/ 1701425 h 3827954"/>
                  <a:gd name="connsiteX28" fmla="*/ 3719696 w 3795890"/>
                  <a:gd name="connsiteY28" fmla="*/ 1500548 h 3827954"/>
                  <a:gd name="connsiteX29" fmla="*/ 2306627 w 3795890"/>
                  <a:gd name="connsiteY29" fmla="*/ 59772 h 3827954"/>
                  <a:gd name="connsiteX30" fmla="*/ 2015701 w 3795890"/>
                  <a:gd name="connsiteY30" fmla="*/ 59772 h 3827954"/>
                  <a:gd name="connsiteX31" fmla="*/ 581852 w 3795890"/>
                  <a:gd name="connsiteY31" fmla="*/ 3613224 h 3827954"/>
                  <a:gd name="connsiteX32" fmla="*/ 207804 w 3795890"/>
                  <a:gd name="connsiteY32" fmla="*/ 3239176 h 3827954"/>
                  <a:gd name="connsiteX33" fmla="*/ 138536 w 3795890"/>
                  <a:gd name="connsiteY33" fmla="*/ 3059079 h 3827954"/>
                  <a:gd name="connsiteX34" fmla="*/ 214731 w 3795890"/>
                  <a:gd name="connsiteY34" fmla="*/ 2878982 h 3827954"/>
                  <a:gd name="connsiteX35" fmla="*/ 942046 w 3795890"/>
                  <a:gd name="connsiteY35" fmla="*/ 3613224 h 3827954"/>
                  <a:gd name="connsiteX36" fmla="*/ 581852 w 3795890"/>
                  <a:gd name="connsiteY36" fmla="*/ 3613224 h 3827954"/>
                  <a:gd name="connsiteX37" fmla="*/ 2022628 w 3795890"/>
                  <a:gd name="connsiteY37" fmla="*/ 3010592 h 3827954"/>
                  <a:gd name="connsiteX38" fmla="*/ 1918726 w 3795890"/>
                  <a:gd name="connsiteY38" fmla="*/ 3488541 h 3827954"/>
                  <a:gd name="connsiteX39" fmla="*/ 1440776 w 3795890"/>
                  <a:gd name="connsiteY39" fmla="*/ 3384639 h 3827954"/>
                  <a:gd name="connsiteX40" fmla="*/ 1357654 w 3795890"/>
                  <a:gd name="connsiteY40" fmla="*/ 3253030 h 3827954"/>
                  <a:gd name="connsiteX41" fmla="*/ 1932579 w 3795890"/>
                  <a:gd name="connsiteY41" fmla="*/ 2872056 h 3827954"/>
                  <a:gd name="connsiteX42" fmla="*/ 2022628 w 3795890"/>
                  <a:gd name="connsiteY42" fmla="*/ 3010592 h 3827954"/>
                  <a:gd name="connsiteX43" fmla="*/ 3643501 w 3795890"/>
                  <a:gd name="connsiteY43" fmla="*/ 1694498 h 3827954"/>
                  <a:gd name="connsiteX44" fmla="*/ 3595013 w 3795890"/>
                  <a:gd name="connsiteY44" fmla="*/ 1791474 h 3827954"/>
                  <a:gd name="connsiteX45" fmla="*/ 3525745 w 3795890"/>
                  <a:gd name="connsiteY45" fmla="*/ 1853815 h 3827954"/>
                  <a:gd name="connsiteX46" fmla="*/ 3428770 w 3795890"/>
                  <a:gd name="connsiteY46" fmla="*/ 1763766 h 3827954"/>
                  <a:gd name="connsiteX47" fmla="*/ 3338721 w 3795890"/>
                  <a:gd name="connsiteY47" fmla="*/ 1756840 h 3827954"/>
                  <a:gd name="connsiteX48" fmla="*/ 1911799 w 3795890"/>
                  <a:gd name="connsiteY48" fmla="*/ 2712739 h 3827954"/>
                  <a:gd name="connsiteX49" fmla="*/ 1911799 w 3795890"/>
                  <a:gd name="connsiteY49" fmla="*/ 2712739 h 3827954"/>
                  <a:gd name="connsiteX50" fmla="*/ 1911799 w 3795890"/>
                  <a:gd name="connsiteY50" fmla="*/ 2712739 h 3827954"/>
                  <a:gd name="connsiteX51" fmla="*/ 1219118 w 3795890"/>
                  <a:gd name="connsiteY51" fmla="*/ 3169908 h 3827954"/>
                  <a:gd name="connsiteX52" fmla="*/ 1219118 w 3795890"/>
                  <a:gd name="connsiteY52" fmla="*/ 3169908 h 3827954"/>
                  <a:gd name="connsiteX53" fmla="*/ 1219118 w 3795890"/>
                  <a:gd name="connsiteY53" fmla="*/ 3169908 h 3827954"/>
                  <a:gd name="connsiteX54" fmla="*/ 907412 w 3795890"/>
                  <a:gd name="connsiteY54" fmla="*/ 3377713 h 3827954"/>
                  <a:gd name="connsiteX55" fmla="*/ 422535 w 3795890"/>
                  <a:gd name="connsiteY55" fmla="*/ 2892836 h 3827954"/>
                  <a:gd name="connsiteX56" fmla="*/ 2008774 w 3795890"/>
                  <a:gd name="connsiteY56" fmla="*/ 530795 h 3827954"/>
                  <a:gd name="connsiteX57" fmla="*/ 3089356 w 3795890"/>
                  <a:gd name="connsiteY57" fmla="*/ 1611377 h 3827954"/>
                  <a:gd name="connsiteX58" fmla="*/ 3186331 w 3795890"/>
                  <a:gd name="connsiteY58" fmla="*/ 1611377 h 3827954"/>
                  <a:gd name="connsiteX59" fmla="*/ 3186331 w 3795890"/>
                  <a:gd name="connsiteY59" fmla="*/ 1514401 h 3827954"/>
                  <a:gd name="connsiteX60" fmla="*/ 2057262 w 3795890"/>
                  <a:gd name="connsiteY60" fmla="*/ 378405 h 3827954"/>
                  <a:gd name="connsiteX61" fmla="*/ 2057262 w 3795890"/>
                  <a:gd name="connsiteY61" fmla="*/ 378405 h 3827954"/>
                  <a:gd name="connsiteX62" fmla="*/ 1974140 w 3795890"/>
                  <a:gd name="connsiteY62" fmla="*/ 295283 h 3827954"/>
                  <a:gd name="connsiteX63" fmla="*/ 2119603 w 3795890"/>
                  <a:gd name="connsiteY63" fmla="*/ 163674 h 3827954"/>
                  <a:gd name="connsiteX64" fmla="*/ 2216578 w 3795890"/>
                  <a:gd name="connsiteY64" fmla="*/ 163674 h 3827954"/>
                  <a:gd name="connsiteX65" fmla="*/ 3615794 w 3795890"/>
                  <a:gd name="connsiteY65" fmla="*/ 1597523 h 3827954"/>
                  <a:gd name="connsiteX66" fmla="*/ 3643501 w 3795890"/>
                  <a:gd name="connsiteY66" fmla="*/ 1694498 h 382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795890" h="3827954">
                    <a:moveTo>
                      <a:pt x="2015701" y="59772"/>
                    </a:moveTo>
                    <a:lnTo>
                      <a:pt x="1870238" y="191381"/>
                    </a:lnTo>
                    <a:cubicBezTo>
                      <a:pt x="1849458" y="219088"/>
                      <a:pt x="1828677" y="253723"/>
                      <a:pt x="1828677" y="288357"/>
                    </a:cubicBezTo>
                    <a:cubicBezTo>
                      <a:pt x="1828677" y="322991"/>
                      <a:pt x="1842531" y="364551"/>
                      <a:pt x="1870238" y="385332"/>
                    </a:cubicBezTo>
                    <a:lnTo>
                      <a:pt x="1911799" y="426893"/>
                    </a:lnTo>
                    <a:lnTo>
                      <a:pt x="325560" y="2795861"/>
                    </a:lnTo>
                    <a:lnTo>
                      <a:pt x="304780" y="2782007"/>
                    </a:lnTo>
                    <a:cubicBezTo>
                      <a:pt x="277072" y="2754300"/>
                      <a:pt x="242438" y="2740446"/>
                      <a:pt x="207804" y="2740446"/>
                    </a:cubicBezTo>
                    <a:lnTo>
                      <a:pt x="207804" y="2740446"/>
                    </a:lnTo>
                    <a:cubicBezTo>
                      <a:pt x="173170" y="2740446"/>
                      <a:pt x="138536" y="2754300"/>
                      <a:pt x="110829" y="2782007"/>
                    </a:cubicBezTo>
                    <a:cubicBezTo>
                      <a:pt x="41561" y="2851275"/>
                      <a:pt x="0" y="2955177"/>
                      <a:pt x="0" y="3059079"/>
                    </a:cubicBezTo>
                    <a:cubicBezTo>
                      <a:pt x="0" y="3162981"/>
                      <a:pt x="41561" y="3259957"/>
                      <a:pt x="117756" y="3336152"/>
                    </a:cubicBezTo>
                    <a:lnTo>
                      <a:pt x="491803" y="3710199"/>
                    </a:lnTo>
                    <a:cubicBezTo>
                      <a:pt x="567998" y="3786394"/>
                      <a:pt x="664974" y="3827955"/>
                      <a:pt x="768876" y="3827955"/>
                    </a:cubicBezTo>
                    <a:cubicBezTo>
                      <a:pt x="872778" y="3827955"/>
                      <a:pt x="969753" y="3786394"/>
                      <a:pt x="1045948" y="3710199"/>
                    </a:cubicBezTo>
                    <a:cubicBezTo>
                      <a:pt x="1101362" y="3654785"/>
                      <a:pt x="1101362" y="3571663"/>
                      <a:pt x="1045948" y="3516249"/>
                    </a:cubicBezTo>
                    <a:lnTo>
                      <a:pt x="1011314" y="3481615"/>
                    </a:lnTo>
                    <a:lnTo>
                      <a:pt x="1246825" y="3329225"/>
                    </a:lnTo>
                    <a:lnTo>
                      <a:pt x="1329947" y="3460834"/>
                    </a:lnTo>
                    <a:cubicBezTo>
                      <a:pt x="1419996" y="3606297"/>
                      <a:pt x="1579312" y="3682492"/>
                      <a:pt x="1738629" y="3682492"/>
                    </a:cubicBezTo>
                    <a:cubicBezTo>
                      <a:pt x="1828677" y="3682492"/>
                      <a:pt x="1918726" y="3654785"/>
                      <a:pt x="2001847" y="3606297"/>
                    </a:cubicBezTo>
                    <a:cubicBezTo>
                      <a:pt x="2223505" y="3460834"/>
                      <a:pt x="2292773" y="3162981"/>
                      <a:pt x="2147310" y="2934397"/>
                    </a:cubicBezTo>
                    <a:lnTo>
                      <a:pt x="2057262" y="2788934"/>
                    </a:lnTo>
                    <a:lnTo>
                      <a:pt x="3394136" y="1902303"/>
                    </a:lnTo>
                    <a:lnTo>
                      <a:pt x="3449550" y="1957717"/>
                    </a:lnTo>
                    <a:cubicBezTo>
                      <a:pt x="3504964" y="2006205"/>
                      <a:pt x="3588086" y="2013131"/>
                      <a:pt x="3636574" y="1957717"/>
                    </a:cubicBezTo>
                    <a:lnTo>
                      <a:pt x="3705842" y="1895376"/>
                    </a:lnTo>
                    <a:cubicBezTo>
                      <a:pt x="3761256" y="1846888"/>
                      <a:pt x="3795890" y="1777620"/>
                      <a:pt x="3795890" y="1701425"/>
                    </a:cubicBezTo>
                    <a:cubicBezTo>
                      <a:pt x="3795890" y="1625230"/>
                      <a:pt x="3768183" y="1555962"/>
                      <a:pt x="3719696" y="1500548"/>
                    </a:cubicBezTo>
                    <a:lnTo>
                      <a:pt x="2306627" y="59772"/>
                    </a:lnTo>
                    <a:cubicBezTo>
                      <a:pt x="2230432" y="-16423"/>
                      <a:pt x="2098823" y="-23350"/>
                      <a:pt x="2015701" y="59772"/>
                    </a:cubicBezTo>
                    <a:close/>
                    <a:moveTo>
                      <a:pt x="581852" y="3613224"/>
                    </a:moveTo>
                    <a:lnTo>
                      <a:pt x="207804" y="3239176"/>
                    </a:lnTo>
                    <a:cubicBezTo>
                      <a:pt x="159317" y="3190689"/>
                      <a:pt x="138536" y="3128347"/>
                      <a:pt x="138536" y="3059079"/>
                    </a:cubicBezTo>
                    <a:cubicBezTo>
                      <a:pt x="138536" y="2989811"/>
                      <a:pt x="166243" y="2927470"/>
                      <a:pt x="214731" y="2878982"/>
                    </a:cubicBezTo>
                    <a:lnTo>
                      <a:pt x="942046" y="3613224"/>
                    </a:lnTo>
                    <a:cubicBezTo>
                      <a:pt x="845070" y="3710199"/>
                      <a:pt x="685754" y="3710199"/>
                      <a:pt x="581852" y="3613224"/>
                    </a:cubicBezTo>
                    <a:close/>
                    <a:moveTo>
                      <a:pt x="2022628" y="3010592"/>
                    </a:moveTo>
                    <a:cubicBezTo>
                      <a:pt x="2126530" y="3169908"/>
                      <a:pt x="2078042" y="3384639"/>
                      <a:pt x="1918726" y="3488541"/>
                    </a:cubicBezTo>
                    <a:cubicBezTo>
                      <a:pt x="1759409" y="3592443"/>
                      <a:pt x="1544678" y="3543956"/>
                      <a:pt x="1440776" y="3384639"/>
                    </a:cubicBezTo>
                    <a:lnTo>
                      <a:pt x="1357654" y="3253030"/>
                    </a:lnTo>
                    <a:lnTo>
                      <a:pt x="1932579" y="2872056"/>
                    </a:lnTo>
                    <a:lnTo>
                      <a:pt x="2022628" y="3010592"/>
                    </a:lnTo>
                    <a:close/>
                    <a:moveTo>
                      <a:pt x="3643501" y="1694498"/>
                    </a:moveTo>
                    <a:cubicBezTo>
                      <a:pt x="3643501" y="1729132"/>
                      <a:pt x="3622720" y="1770693"/>
                      <a:pt x="3595013" y="1791474"/>
                    </a:cubicBezTo>
                    <a:lnTo>
                      <a:pt x="3525745" y="1853815"/>
                    </a:lnTo>
                    <a:lnTo>
                      <a:pt x="3428770" y="1763766"/>
                    </a:lnTo>
                    <a:cubicBezTo>
                      <a:pt x="3407989" y="1742986"/>
                      <a:pt x="3366428" y="1736059"/>
                      <a:pt x="3338721" y="1756840"/>
                    </a:cubicBez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907412" y="3377713"/>
                    </a:lnTo>
                    <a:lnTo>
                      <a:pt x="422535" y="2892836"/>
                    </a:lnTo>
                    <a:lnTo>
                      <a:pt x="2008774" y="530795"/>
                    </a:lnTo>
                    <a:lnTo>
                      <a:pt x="3089356" y="1611377"/>
                    </a:lnTo>
                    <a:cubicBezTo>
                      <a:pt x="3117063" y="1639084"/>
                      <a:pt x="3158624" y="1639084"/>
                      <a:pt x="3186331" y="1611377"/>
                    </a:cubicBezTo>
                    <a:cubicBezTo>
                      <a:pt x="3214039" y="1583669"/>
                      <a:pt x="3214039" y="1542109"/>
                      <a:pt x="3186331" y="1514401"/>
                    </a:cubicBezTo>
                    <a:lnTo>
                      <a:pt x="2057262" y="378405"/>
                    </a:lnTo>
                    <a:lnTo>
                      <a:pt x="2057262" y="378405"/>
                    </a:lnTo>
                    <a:lnTo>
                      <a:pt x="1974140" y="295283"/>
                    </a:lnTo>
                    <a:lnTo>
                      <a:pt x="2119603" y="163674"/>
                    </a:lnTo>
                    <a:cubicBezTo>
                      <a:pt x="2147310" y="135967"/>
                      <a:pt x="2188871" y="135967"/>
                      <a:pt x="2216578" y="163674"/>
                    </a:cubicBezTo>
                    <a:lnTo>
                      <a:pt x="3615794" y="1597523"/>
                    </a:lnTo>
                    <a:cubicBezTo>
                      <a:pt x="3636574" y="1618303"/>
                      <a:pt x="3650428" y="1659864"/>
                      <a:pt x="3643501" y="169449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9C9CE716-0580-4357-B9C0-DF37E44F4241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692680" cy="692680"/>
              </a:xfrm>
              <a:custGeom>
                <a:avLst/>
                <a:gdLst>
                  <a:gd name="connsiteX0" fmla="*/ 574925 w 692680"/>
                  <a:gd name="connsiteY0" fmla="*/ 20780 h 692680"/>
                  <a:gd name="connsiteX1" fmla="*/ 20780 w 692680"/>
                  <a:gd name="connsiteY1" fmla="*/ 574925 h 692680"/>
                  <a:gd name="connsiteX2" fmla="*/ 20780 w 692680"/>
                  <a:gd name="connsiteY2" fmla="*/ 671900 h 692680"/>
                  <a:gd name="connsiteX3" fmla="*/ 69268 w 692680"/>
                  <a:gd name="connsiteY3" fmla="*/ 692681 h 692680"/>
                  <a:gd name="connsiteX4" fmla="*/ 117756 w 692680"/>
                  <a:gd name="connsiteY4" fmla="*/ 671900 h 692680"/>
                  <a:gd name="connsiteX5" fmla="*/ 671900 w 692680"/>
                  <a:gd name="connsiteY5" fmla="*/ 117756 h 692680"/>
                  <a:gd name="connsiteX6" fmla="*/ 671900 w 692680"/>
                  <a:gd name="connsiteY6" fmla="*/ 20780 h 692680"/>
                  <a:gd name="connsiteX7" fmla="*/ 574925 w 692680"/>
                  <a:gd name="connsiteY7" fmla="*/ 20780 h 69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2680" h="692680">
                    <a:moveTo>
                      <a:pt x="574925" y="20780"/>
                    </a:moveTo>
                    <a:lnTo>
                      <a:pt x="20780" y="574925"/>
                    </a:lnTo>
                    <a:cubicBezTo>
                      <a:pt x="-6927" y="602632"/>
                      <a:pt x="-6927" y="644193"/>
                      <a:pt x="20780" y="671900"/>
                    </a:cubicBezTo>
                    <a:cubicBezTo>
                      <a:pt x="34634" y="685754"/>
                      <a:pt x="55414" y="692681"/>
                      <a:pt x="69268" y="692681"/>
                    </a:cubicBezTo>
                    <a:cubicBezTo>
                      <a:pt x="83122" y="692681"/>
                      <a:pt x="103902" y="685754"/>
                      <a:pt x="117756" y="671900"/>
                    </a:cubicBezTo>
                    <a:lnTo>
                      <a:pt x="671900" y="117756"/>
                    </a:lnTo>
                    <a:cubicBezTo>
                      <a:pt x="699607" y="90048"/>
                      <a:pt x="699607" y="48488"/>
                      <a:pt x="671900" y="20780"/>
                    </a:cubicBezTo>
                    <a:cubicBezTo>
                      <a:pt x="644193" y="-6927"/>
                      <a:pt x="602632" y="-6927"/>
                      <a:pt x="574925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3B998BF2-253F-4AFA-BF16-15CEF2EA47BD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415608" cy="415608"/>
              </a:xfrm>
              <a:custGeom>
                <a:avLst/>
                <a:gdLst>
                  <a:gd name="connsiteX0" fmla="*/ 69268 w 415608"/>
                  <a:gd name="connsiteY0" fmla="*/ 415608 h 415608"/>
                  <a:gd name="connsiteX1" fmla="*/ 117756 w 415608"/>
                  <a:gd name="connsiteY1" fmla="*/ 394828 h 415608"/>
                  <a:gd name="connsiteX2" fmla="*/ 394828 w 415608"/>
                  <a:gd name="connsiteY2" fmla="*/ 117756 h 415608"/>
                  <a:gd name="connsiteX3" fmla="*/ 394828 w 415608"/>
                  <a:gd name="connsiteY3" fmla="*/ 20780 h 415608"/>
                  <a:gd name="connsiteX4" fmla="*/ 297853 w 415608"/>
                  <a:gd name="connsiteY4" fmla="*/ 20780 h 415608"/>
                  <a:gd name="connsiteX5" fmla="*/ 20780 w 415608"/>
                  <a:gd name="connsiteY5" fmla="*/ 297853 h 415608"/>
                  <a:gd name="connsiteX6" fmla="*/ 20780 w 415608"/>
                  <a:gd name="connsiteY6" fmla="*/ 394828 h 415608"/>
                  <a:gd name="connsiteX7" fmla="*/ 69268 w 415608"/>
                  <a:gd name="connsiteY7" fmla="*/ 415608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69268" y="415608"/>
                    </a:moveTo>
                    <a:cubicBezTo>
                      <a:pt x="90048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38551E33-3253-49C3-827F-DFA9FB0A8670}"/>
                  </a:ext>
                </a:extLst>
              </p:cNvPr>
              <p:cNvSpPr/>
              <p:nvPr/>
            </p:nvSpPr>
            <p:spPr>
              <a:xfrm>
                <a:off x="3077319" y="3711270"/>
                <a:ext cx="415608" cy="415608"/>
              </a:xfrm>
              <a:custGeom>
                <a:avLst/>
                <a:gdLst>
                  <a:gd name="connsiteX0" fmla="*/ 297853 w 415608"/>
                  <a:gd name="connsiteY0" fmla="*/ 20780 h 415608"/>
                  <a:gd name="connsiteX1" fmla="*/ 20780 w 415608"/>
                  <a:gd name="connsiteY1" fmla="*/ 297853 h 415608"/>
                  <a:gd name="connsiteX2" fmla="*/ 20780 w 415608"/>
                  <a:gd name="connsiteY2" fmla="*/ 394828 h 415608"/>
                  <a:gd name="connsiteX3" fmla="*/ 69268 w 415608"/>
                  <a:gd name="connsiteY3" fmla="*/ 415608 h 415608"/>
                  <a:gd name="connsiteX4" fmla="*/ 117756 w 415608"/>
                  <a:gd name="connsiteY4" fmla="*/ 394828 h 415608"/>
                  <a:gd name="connsiteX5" fmla="*/ 394828 w 415608"/>
                  <a:gd name="connsiteY5" fmla="*/ 117756 h 415608"/>
                  <a:gd name="connsiteX6" fmla="*/ 394828 w 415608"/>
                  <a:gd name="connsiteY6" fmla="*/ 20780 h 415608"/>
                  <a:gd name="connsiteX7" fmla="*/ 297853 w 415608"/>
                  <a:gd name="connsiteY7" fmla="*/ 20780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297853" y="20780"/>
                    </a:move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ubicBezTo>
                      <a:pt x="83122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5829227" y="2132072"/>
            <a:ext cx="509356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829227" y="4438308"/>
            <a:ext cx="509356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3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9229" y="4142037"/>
            <a:ext cx="509356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tabLst>
                <a:tab pos="1800225" algn="l"/>
              </a:tabLst>
            </a:pPr>
            <a:r>
              <a:rPr lang="zh-CN" altLang="en-US" sz="2000" dirty="0">
                <a:cs typeface="+mn-ea"/>
                <a:sym typeface="+mn-lt"/>
              </a:rPr>
              <a:t>新型冠状病毒感染肺炎预防知识</a:t>
            </a:r>
            <a:endParaRPr lang="en-US" altLang="zh-CN" sz="2000" dirty="0">
              <a:cs typeface="+mn-ea"/>
              <a:sym typeface="+mn-lt"/>
            </a:endParaRPr>
          </a:p>
        </p:txBody>
      </p:sp>
      <p:sp>
        <p:nvSpPr>
          <p:cNvPr id="32" name="标题 31">
            <a:extLst>
              <a:ext uri="{FF2B5EF4-FFF2-40B4-BE49-F238E27FC236}">
                <a16:creationId xmlns:a16="http://schemas.microsoft.com/office/drawing/2014/main" id="{46F4BFBB-022F-483E-9100-FF3465C75A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2800" b="0" dirty="0">
                <a:latin typeface="+mn-lt"/>
                <a:ea typeface="+mn-ea"/>
                <a:cs typeface="+mn-ea"/>
                <a:sym typeface="+mn-lt"/>
              </a:rPr>
              <a:t>疫情防护，大家一起努力！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汇报人：</a:t>
            </a:r>
            <a:r>
              <a:rPr lang="en-US" altLang="zh-CN" dirty="0" err="1">
                <a:cs typeface="+mn-ea"/>
                <a:sym typeface="+mn-lt"/>
              </a:rPr>
              <a:t>OfficePLUS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20XX/01/01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D509F7FB-EF47-4004-A93A-58DDD0831696}"/>
              </a:ext>
            </a:extLst>
          </p:cNvPr>
          <p:cNvSpPr txBox="1"/>
          <p:nvPr/>
        </p:nvSpPr>
        <p:spPr>
          <a:xfrm rot="21127689">
            <a:off x="6142770" y="1062643"/>
            <a:ext cx="3732964" cy="4359258"/>
          </a:xfrm>
          <a:prstGeom prst="rect">
            <a:avLst/>
          </a:prstGeom>
          <a:noFill/>
        </p:spPr>
        <p:txBody>
          <a:bodyPr wrap="none" rtlCol="0">
            <a:prstTxWarp prst="textFadeLeft">
              <a:avLst/>
            </a:prstTxWarp>
            <a:spAutoFit/>
          </a:bodyPr>
          <a:lstStyle/>
          <a:p>
            <a:r>
              <a:rPr lang="zh-CN" altLang="en-US" sz="16600" b="1" dirty="0">
                <a:solidFill>
                  <a:schemeClr val="accent3"/>
                </a:solidFill>
                <a:effectLst>
                  <a:outerShdw dist="50800" algn="l" rotWithShape="0">
                    <a:schemeClr val="accent2">
                      <a:alpha val="40000"/>
                    </a:schemeClr>
                  </a:outerShdw>
                </a:effectLst>
                <a:cs typeface="+mn-ea"/>
                <a:sym typeface="+mn-lt"/>
              </a:rPr>
              <a:t>勤洗手</a:t>
            </a:r>
          </a:p>
          <a:p>
            <a:r>
              <a:rPr lang="zh-CN" altLang="en-US" sz="16600" b="1" dirty="0">
                <a:solidFill>
                  <a:schemeClr val="accent3"/>
                </a:solidFill>
                <a:effectLst>
                  <a:outerShdw dist="50800" algn="l" rotWithShape="0">
                    <a:schemeClr val="accent2">
                      <a:alpha val="40000"/>
                    </a:schemeClr>
                  </a:outerShdw>
                </a:effectLst>
                <a:cs typeface="+mn-ea"/>
                <a:sym typeface="+mn-lt"/>
              </a:rPr>
              <a:t>多通风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360F89A3-2B9F-4DA4-96A4-97D1F488E003}"/>
              </a:ext>
            </a:extLst>
          </p:cNvPr>
          <p:cNvGrpSpPr/>
          <p:nvPr/>
        </p:nvGrpSpPr>
        <p:grpSpPr>
          <a:xfrm>
            <a:off x="189593" y="181011"/>
            <a:ext cx="11812814" cy="6495979"/>
            <a:chOff x="188686" y="172499"/>
            <a:chExt cx="11713028" cy="6387958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925DEC91-E0B7-4DB0-AA71-F3810200FA03}"/>
                </a:ext>
              </a:extLst>
            </p:cNvPr>
            <p:cNvSpPr/>
            <p:nvPr/>
          </p:nvSpPr>
          <p:spPr>
            <a:xfrm>
              <a:off x="319314" y="304800"/>
              <a:ext cx="11582400" cy="6255657"/>
            </a:xfrm>
            <a:prstGeom prst="rect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ABB6FDFF-DB34-40E6-B122-19465ED3B218}"/>
                </a:ext>
              </a:extLst>
            </p:cNvPr>
            <p:cNvSpPr/>
            <p:nvPr/>
          </p:nvSpPr>
          <p:spPr>
            <a:xfrm>
              <a:off x="188686" y="172499"/>
              <a:ext cx="11582400" cy="6255657"/>
            </a:xfrm>
            <a:prstGeom prst="rect">
              <a:avLst/>
            </a:prstGeom>
            <a:noFill/>
            <a:ln w="254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如何预防新型冠状病毒感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015059" y="2898982"/>
            <a:ext cx="1837362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 spc="100" dirty="0">
                <a:solidFill>
                  <a:schemeClr val="accent3"/>
                </a:solidFill>
                <a:cs typeface="+mn-ea"/>
                <a:sym typeface="+mn-lt"/>
              </a:rPr>
              <a:t>/04</a:t>
            </a:r>
            <a:endParaRPr lang="zh-CN" altLang="en-US" sz="8800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29026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如何预防新型冠状病毒感染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956550"/>
            <a:ext cx="10850563" cy="2821546"/>
            <a:chOff x="669925" y="2117223"/>
            <a:chExt cx="10850563" cy="2821546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7DCFB066-88F6-48C5-BA69-5C3E3550C5EB}"/>
                </a:ext>
              </a:extLst>
            </p:cNvPr>
            <p:cNvGrpSpPr/>
            <p:nvPr/>
          </p:nvGrpSpPr>
          <p:grpSpPr>
            <a:xfrm>
              <a:off x="3639034" y="2117223"/>
              <a:ext cx="4926084" cy="2821546"/>
              <a:chOff x="3639034" y="2117223"/>
              <a:chExt cx="4926084" cy="2821546"/>
            </a:xfrm>
          </p:grpSpPr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3BEC5C17-AEC6-4A42-81AE-74DE1C5288E5}"/>
                  </a:ext>
                </a:extLst>
              </p:cNvPr>
              <p:cNvSpPr/>
              <p:nvPr/>
            </p:nvSpPr>
            <p:spPr>
              <a:xfrm flipV="1">
                <a:off x="3639034" y="3527996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3D670539-0138-4149-8FBB-9240066DB951}"/>
                  </a:ext>
                </a:extLst>
              </p:cNvPr>
              <p:cNvSpPr/>
              <p:nvPr/>
            </p:nvSpPr>
            <p:spPr>
              <a:xfrm>
                <a:off x="5743571" y="2117223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C57EBFA6-A653-468C-9059-43DF65A41E72}"/>
                  </a:ext>
                </a:extLst>
              </p:cNvPr>
              <p:cNvSpPr/>
              <p:nvPr/>
            </p:nvSpPr>
            <p:spPr>
              <a:xfrm flipV="1">
                <a:off x="5743571" y="3527996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AEB6B914-91DA-4E11-B553-833C2DF0F057}"/>
                  </a:ext>
                </a:extLst>
              </p:cNvPr>
              <p:cNvSpPr/>
              <p:nvPr/>
            </p:nvSpPr>
            <p:spPr>
              <a:xfrm>
                <a:off x="3639034" y="2117223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90D5DA5E-17BE-42E0-86F1-8B0338A02264}"/>
                  </a:ext>
                </a:extLst>
              </p:cNvPr>
              <p:cNvSpPr txBox="1"/>
              <p:nvPr/>
            </p:nvSpPr>
            <p:spPr bwMode="auto">
              <a:xfrm>
                <a:off x="3889580" y="3153884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>
                    <a:cs typeface="+mn-ea"/>
                    <a:sym typeface="+mn-lt"/>
                  </a:rPr>
                  <a:t>0</a:t>
                </a:r>
                <a:r>
                  <a:rPr lang="en-US" sz="100" b="1">
                    <a:cs typeface="+mn-ea"/>
                    <a:sym typeface="+mn-lt"/>
                  </a:rPr>
                  <a:t> </a:t>
                </a:r>
                <a:r>
                  <a:rPr lang="en-US" sz="1867" b="1">
                    <a:cs typeface="+mn-ea"/>
                    <a:sym typeface="+mn-lt"/>
                  </a:rPr>
                  <a:t>1</a:t>
                </a:r>
                <a:endParaRPr lang="en-US" sz="1867" b="1" dirty="0">
                  <a:cs typeface="+mn-ea"/>
                  <a:sym typeface="+mn-lt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740B61BB-EB72-4A51-BEC5-3DC0C9D1DF77}"/>
                  </a:ext>
                </a:extLst>
              </p:cNvPr>
              <p:cNvSpPr txBox="1"/>
              <p:nvPr/>
            </p:nvSpPr>
            <p:spPr bwMode="auto">
              <a:xfrm>
                <a:off x="3889580" y="3588957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>
                    <a:cs typeface="+mn-ea"/>
                    <a:sym typeface="+mn-lt"/>
                  </a:rPr>
                  <a:t>0</a:t>
                </a:r>
                <a:r>
                  <a:rPr lang="en-US" sz="100" b="1">
                    <a:cs typeface="+mn-ea"/>
                    <a:sym typeface="+mn-lt"/>
                  </a:rPr>
                  <a:t> </a:t>
                </a:r>
                <a:r>
                  <a:rPr lang="en-US" sz="1867" b="1">
                    <a:cs typeface="+mn-ea"/>
                    <a:sym typeface="+mn-lt"/>
                  </a:rPr>
                  <a:t>4</a:t>
                </a: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5E38381A-7987-4F59-9A07-6FEBC8C33FC5}"/>
                  </a:ext>
                </a:extLst>
              </p:cNvPr>
              <p:cNvSpPr txBox="1"/>
              <p:nvPr/>
            </p:nvSpPr>
            <p:spPr bwMode="auto">
              <a:xfrm>
                <a:off x="8069708" y="3153884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>
                    <a:cs typeface="+mn-ea"/>
                    <a:sym typeface="+mn-lt"/>
                  </a:rPr>
                  <a:t>0</a:t>
                </a:r>
                <a:r>
                  <a:rPr lang="en-US" sz="100" b="1">
                    <a:cs typeface="+mn-ea"/>
                    <a:sym typeface="+mn-lt"/>
                  </a:rPr>
                  <a:t> </a:t>
                </a:r>
                <a:r>
                  <a:rPr lang="en-US" sz="1867" b="1">
                    <a:cs typeface="+mn-ea"/>
                    <a:sym typeface="+mn-lt"/>
                  </a:rPr>
                  <a:t>3</a:t>
                </a: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040F146B-E9FF-44D9-8EE9-D24AB02880A3}"/>
                  </a:ext>
                </a:extLst>
              </p:cNvPr>
              <p:cNvSpPr txBox="1"/>
              <p:nvPr/>
            </p:nvSpPr>
            <p:spPr bwMode="auto">
              <a:xfrm>
                <a:off x="8069708" y="3588957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>
                    <a:cs typeface="+mn-ea"/>
                    <a:sym typeface="+mn-lt"/>
                  </a:rPr>
                  <a:t>0</a:t>
                </a:r>
                <a:r>
                  <a:rPr lang="en-US" sz="100" b="1">
                    <a:cs typeface="+mn-ea"/>
                    <a:sym typeface="+mn-lt"/>
                  </a:rPr>
                  <a:t> </a:t>
                </a:r>
                <a:r>
                  <a:rPr lang="en-US" sz="1867" b="1">
                    <a:cs typeface="+mn-ea"/>
                    <a:sym typeface="+mn-lt"/>
                  </a:rPr>
                  <a:t>2</a:t>
                </a: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4A9CAB94-50F4-4C6F-8308-23DD23B903A8}"/>
                  </a:ext>
                </a:extLst>
              </p:cNvPr>
              <p:cNvSpPr/>
              <p:nvPr/>
            </p:nvSpPr>
            <p:spPr bwMode="auto">
              <a:xfrm>
                <a:off x="4758875" y="3158448"/>
                <a:ext cx="633204" cy="633204"/>
              </a:xfrm>
              <a:custGeom>
                <a:avLst/>
                <a:gdLst>
                  <a:gd name="T0" fmla="*/ 184 w 260"/>
                  <a:gd name="T1" fmla="*/ 106 h 260"/>
                  <a:gd name="T2" fmla="*/ 193 w 260"/>
                  <a:gd name="T3" fmla="*/ 143 h 260"/>
                  <a:gd name="T4" fmla="*/ 117 w 260"/>
                  <a:gd name="T5" fmla="*/ 219 h 260"/>
                  <a:gd name="T6" fmla="*/ 42 w 260"/>
                  <a:gd name="T7" fmla="*/ 143 h 260"/>
                  <a:gd name="T8" fmla="*/ 117 w 260"/>
                  <a:gd name="T9" fmla="*/ 66 h 260"/>
                  <a:gd name="T10" fmla="*/ 154 w 260"/>
                  <a:gd name="T11" fmla="*/ 76 h 260"/>
                  <a:gd name="T12" fmla="*/ 183 w 260"/>
                  <a:gd name="T13" fmla="*/ 46 h 260"/>
                  <a:gd name="T14" fmla="*/ 117 w 260"/>
                  <a:gd name="T15" fmla="*/ 25 h 260"/>
                  <a:gd name="T16" fmla="*/ 0 w 260"/>
                  <a:gd name="T17" fmla="*/ 143 h 260"/>
                  <a:gd name="T18" fmla="*/ 117 w 260"/>
                  <a:gd name="T19" fmla="*/ 260 h 260"/>
                  <a:gd name="T20" fmla="*/ 233 w 260"/>
                  <a:gd name="T21" fmla="*/ 143 h 260"/>
                  <a:gd name="T22" fmla="*/ 213 w 260"/>
                  <a:gd name="T23" fmla="*/ 77 h 260"/>
                  <a:gd name="T24" fmla="*/ 184 w 260"/>
                  <a:gd name="T25" fmla="*/ 106 h 260"/>
                  <a:gd name="T26" fmla="*/ 225 w 260"/>
                  <a:gd name="T27" fmla="*/ 35 h 260"/>
                  <a:gd name="T28" fmla="*/ 225 w 260"/>
                  <a:gd name="T29" fmla="*/ 35 h 260"/>
                  <a:gd name="T30" fmla="*/ 225 w 260"/>
                  <a:gd name="T31" fmla="*/ 0 h 260"/>
                  <a:gd name="T32" fmla="*/ 203 w 260"/>
                  <a:gd name="T33" fmla="*/ 23 h 260"/>
                  <a:gd name="T34" fmla="*/ 203 w 260"/>
                  <a:gd name="T35" fmla="*/ 46 h 260"/>
                  <a:gd name="T36" fmla="*/ 139 w 260"/>
                  <a:gd name="T37" fmla="*/ 111 h 260"/>
                  <a:gd name="T38" fmla="*/ 117 w 260"/>
                  <a:gd name="T39" fmla="*/ 104 h 260"/>
                  <a:gd name="T40" fmla="*/ 79 w 260"/>
                  <a:gd name="T41" fmla="*/ 143 h 260"/>
                  <a:gd name="T42" fmla="*/ 117 w 260"/>
                  <a:gd name="T43" fmla="*/ 181 h 260"/>
                  <a:gd name="T44" fmla="*/ 155 w 260"/>
                  <a:gd name="T45" fmla="*/ 143 h 260"/>
                  <a:gd name="T46" fmla="*/ 150 w 260"/>
                  <a:gd name="T47" fmla="*/ 123 h 260"/>
                  <a:gd name="T48" fmla="*/ 215 w 260"/>
                  <a:gd name="T49" fmla="*/ 58 h 260"/>
                  <a:gd name="T50" fmla="*/ 237 w 260"/>
                  <a:gd name="T51" fmla="*/ 58 h 260"/>
                  <a:gd name="T52" fmla="*/ 260 w 260"/>
                  <a:gd name="T53" fmla="*/ 35 h 260"/>
                  <a:gd name="T54" fmla="*/ 225 w 260"/>
                  <a:gd name="T55" fmla="*/ 35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0" h="260">
                    <a:moveTo>
                      <a:pt x="184" y="106"/>
                    </a:moveTo>
                    <a:cubicBezTo>
                      <a:pt x="190" y="117"/>
                      <a:pt x="193" y="129"/>
                      <a:pt x="193" y="143"/>
                    </a:cubicBezTo>
                    <a:cubicBezTo>
                      <a:pt x="193" y="185"/>
                      <a:pt x="159" y="219"/>
                      <a:pt x="117" y="219"/>
                    </a:cubicBezTo>
                    <a:cubicBezTo>
                      <a:pt x="76" y="219"/>
                      <a:pt x="42" y="185"/>
                      <a:pt x="42" y="143"/>
                    </a:cubicBezTo>
                    <a:cubicBezTo>
                      <a:pt x="42" y="100"/>
                      <a:pt x="76" y="66"/>
                      <a:pt x="117" y="66"/>
                    </a:cubicBezTo>
                    <a:cubicBezTo>
                      <a:pt x="131" y="66"/>
                      <a:pt x="143" y="70"/>
                      <a:pt x="154" y="76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65" y="33"/>
                      <a:pt x="141" y="25"/>
                      <a:pt x="117" y="25"/>
                    </a:cubicBezTo>
                    <a:cubicBezTo>
                      <a:pt x="52" y="25"/>
                      <a:pt x="0" y="78"/>
                      <a:pt x="0" y="143"/>
                    </a:cubicBezTo>
                    <a:cubicBezTo>
                      <a:pt x="0" y="207"/>
                      <a:pt x="52" y="260"/>
                      <a:pt x="117" y="260"/>
                    </a:cubicBezTo>
                    <a:cubicBezTo>
                      <a:pt x="181" y="260"/>
                      <a:pt x="233" y="207"/>
                      <a:pt x="233" y="143"/>
                    </a:cubicBezTo>
                    <a:cubicBezTo>
                      <a:pt x="233" y="118"/>
                      <a:pt x="226" y="96"/>
                      <a:pt x="213" y="77"/>
                    </a:cubicBezTo>
                    <a:cubicBezTo>
                      <a:pt x="184" y="106"/>
                      <a:pt x="184" y="106"/>
                      <a:pt x="184" y="106"/>
                    </a:cubicBezTo>
                    <a:close/>
                    <a:moveTo>
                      <a:pt x="225" y="35"/>
                    </a:moveTo>
                    <a:cubicBezTo>
                      <a:pt x="225" y="35"/>
                      <a:pt x="225" y="35"/>
                      <a:pt x="225" y="35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3" y="23"/>
                      <a:pt x="203" y="23"/>
                      <a:pt x="203" y="23"/>
                    </a:cubicBezTo>
                    <a:cubicBezTo>
                      <a:pt x="203" y="46"/>
                      <a:pt x="203" y="46"/>
                      <a:pt x="203" y="46"/>
                    </a:cubicBez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33" y="106"/>
                      <a:pt x="125" y="104"/>
                      <a:pt x="117" y="104"/>
                    </a:cubicBezTo>
                    <a:cubicBezTo>
                      <a:pt x="96" y="104"/>
                      <a:pt x="79" y="121"/>
                      <a:pt x="79" y="143"/>
                    </a:cubicBezTo>
                    <a:cubicBezTo>
                      <a:pt x="79" y="164"/>
                      <a:pt x="96" y="181"/>
                      <a:pt x="117" y="181"/>
                    </a:cubicBezTo>
                    <a:cubicBezTo>
                      <a:pt x="138" y="181"/>
                      <a:pt x="155" y="164"/>
                      <a:pt x="155" y="143"/>
                    </a:cubicBezTo>
                    <a:cubicBezTo>
                      <a:pt x="155" y="136"/>
                      <a:pt x="154" y="129"/>
                      <a:pt x="150" y="123"/>
                    </a:cubicBezTo>
                    <a:cubicBezTo>
                      <a:pt x="215" y="58"/>
                      <a:pt x="215" y="58"/>
                      <a:pt x="215" y="58"/>
                    </a:cubicBezTo>
                    <a:cubicBezTo>
                      <a:pt x="237" y="58"/>
                      <a:pt x="237" y="58"/>
                      <a:pt x="237" y="58"/>
                    </a:cubicBezTo>
                    <a:cubicBezTo>
                      <a:pt x="260" y="35"/>
                      <a:pt x="260" y="35"/>
                      <a:pt x="260" y="35"/>
                    </a:cubicBezTo>
                    <a:cubicBezTo>
                      <a:pt x="225" y="35"/>
                      <a:pt x="225" y="35"/>
                      <a:pt x="225" y="3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B8FFCD2C-CCBD-4C98-8E2F-7DAB61B89AA9}"/>
                  </a:ext>
                </a:extLst>
              </p:cNvPr>
              <p:cNvSpPr/>
              <p:nvPr/>
            </p:nvSpPr>
            <p:spPr bwMode="auto">
              <a:xfrm>
                <a:off x="6812073" y="3158448"/>
                <a:ext cx="633204" cy="633204"/>
              </a:xfrm>
              <a:custGeom>
                <a:avLst/>
                <a:gdLst>
                  <a:gd name="T0" fmla="*/ 0 w 236"/>
                  <a:gd name="T1" fmla="*/ 118 h 236"/>
                  <a:gd name="T2" fmla="*/ 236 w 236"/>
                  <a:gd name="T3" fmla="*/ 118 h 236"/>
                  <a:gd name="T4" fmla="*/ 150 w 236"/>
                  <a:gd name="T5" fmla="*/ 168 h 236"/>
                  <a:gd name="T6" fmla="*/ 128 w 236"/>
                  <a:gd name="T7" fmla="*/ 196 h 236"/>
                  <a:gd name="T8" fmla="*/ 125 w 236"/>
                  <a:gd name="T9" fmla="*/ 199 h 236"/>
                  <a:gd name="T10" fmla="*/ 111 w 236"/>
                  <a:gd name="T11" fmla="*/ 198 h 236"/>
                  <a:gd name="T12" fmla="*/ 110 w 236"/>
                  <a:gd name="T13" fmla="*/ 180 h 236"/>
                  <a:gd name="T14" fmla="*/ 90 w 236"/>
                  <a:gd name="T15" fmla="*/ 173 h 236"/>
                  <a:gd name="T16" fmla="*/ 79 w 236"/>
                  <a:gd name="T17" fmla="*/ 166 h 236"/>
                  <a:gd name="T18" fmla="*/ 78 w 236"/>
                  <a:gd name="T19" fmla="*/ 160 h 236"/>
                  <a:gd name="T20" fmla="*/ 89 w 236"/>
                  <a:gd name="T21" fmla="*/ 147 h 236"/>
                  <a:gd name="T22" fmla="*/ 91 w 236"/>
                  <a:gd name="T23" fmla="*/ 148 h 236"/>
                  <a:gd name="T24" fmla="*/ 119 w 236"/>
                  <a:gd name="T25" fmla="*/ 160 h 236"/>
                  <a:gd name="T26" fmla="*/ 137 w 236"/>
                  <a:gd name="T27" fmla="*/ 145 h 236"/>
                  <a:gd name="T28" fmla="*/ 133 w 236"/>
                  <a:gd name="T29" fmla="*/ 137 h 236"/>
                  <a:gd name="T30" fmla="*/ 122 w 236"/>
                  <a:gd name="T31" fmla="*/ 130 h 236"/>
                  <a:gd name="T32" fmla="*/ 109 w 236"/>
                  <a:gd name="T33" fmla="*/ 125 h 236"/>
                  <a:gd name="T34" fmla="*/ 98 w 236"/>
                  <a:gd name="T35" fmla="*/ 120 h 236"/>
                  <a:gd name="T36" fmla="*/ 89 w 236"/>
                  <a:gd name="T37" fmla="*/ 113 h 236"/>
                  <a:gd name="T38" fmla="*/ 82 w 236"/>
                  <a:gd name="T39" fmla="*/ 103 h 236"/>
                  <a:gd name="T40" fmla="*/ 79 w 236"/>
                  <a:gd name="T41" fmla="*/ 90 h 236"/>
                  <a:gd name="T42" fmla="*/ 110 w 236"/>
                  <a:gd name="T43" fmla="*/ 57 h 236"/>
                  <a:gd name="T44" fmla="*/ 111 w 236"/>
                  <a:gd name="T45" fmla="*/ 38 h 236"/>
                  <a:gd name="T46" fmla="*/ 125 w 236"/>
                  <a:gd name="T47" fmla="*/ 37 h 236"/>
                  <a:gd name="T48" fmla="*/ 128 w 236"/>
                  <a:gd name="T49" fmla="*/ 40 h 236"/>
                  <a:gd name="T50" fmla="*/ 137 w 236"/>
                  <a:gd name="T51" fmla="*/ 58 h 236"/>
                  <a:gd name="T52" fmla="*/ 151 w 236"/>
                  <a:gd name="T53" fmla="*/ 65 h 236"/>
                  <a:gd name="T54" fmla="*/ 155 w 236"/>
                  <a:gd name="T55" fmla="*/ 69 h 236"/>
                  <a:gd name="T56" fmla="*/ 149 w 236"/>
                  <a:gd name="T57" fmla="*/ 85 h 236"/>
                  <a:gd name="T58" fmla="*/ 144 w 236"/>
                  <a:gd name="T59" fmla="*/ 86 h 236"/>
                  <a:gd name="T60" fmla="*/ 140 w 236"/>
                  <a:gd name="T61" fmla="*/ 82 h 236"/>
                  <a:gd name="T62" fmla="*/ 128 w 236"/>
                  <a:gd name="T63" fmla="*/ 77 h 236"/>
                  <a:gd name="T64" fmla="*/ 107 w 236"/>
                  <a:gd name="T65" fmla="*/ 80 h 236"/>
                  <a:gd name="T66" fmla="*/ 102 w 236"/>
                  <a:gd name="T67" fmla="*/ 94 h 236"/>
                  <a:gd name="T68" fmla="*/ 108 w 236"/>
                  <a:gd name="T69" fmla="*/ 101 h 236"/>
                  <a:gd name="T70" fmla="*/ 118 w 236"/>
                  <a:gd name="T71" fmla="*/ 106 h 236"/>
                  <a:gd name="T72" fmla="*/ 132 w 236"/>
                  <a:gd name="T73" fmla="*/ 112 h 236"/>
                  <a:gd name="T74" fmla="*/ 145 w 236"/>
                  <a:gd name="T75" fmla="*/ 119 h 236"/>
                  <a:gd name="T76" fmla="*/ 155 w 236"/>
                  <a:gd name="T77" fmla="*/ 129 h 236"/>
                  <a:gd name="T78" fmla="*/ 159 w 236"/>
                  <a:gd name="T79" fmla="*/ 14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6" h="236">
                    <a:moveTo>
                      <a:pt x="118" y="0"/>
                    </a:moveTo>
                    <a:cubicBezTo>
                      <a:pt x="53" y="0"/>
                      <a:pt x="0" y="53"/>
                      <a:pt x="0" y="118"/>
                    </a:cubicBezTo>
                    <a:cubicBezTo>
                      <a:pt x="0" y="183"/>
                      <a:pt x="53" y="236"/>
                      <a:pt x="118" y="236"/>
                    </a:cubicBezTo>
                    <a:cubicBezTo>
                      <a:pt x="183" y="236"/>
                      <a:pt x="236" y="183"/>
                      <a:pt x="236" y="118"/>
                    </a:cubicBezTo>
                    <a:cubicBezTo>
                      <a:pt x="236" y="53"/>
                      <a:pt x="183" y="0"/>
                      <a:pt x="118" y="0"/>
                    </a:cubicBezTo>
                    <a:moveTo>
                      <a:pt x="150" y="168"/>
                    </a:moveTo>
                    <a:cubicBezTo>
                      <a:pt x="145" y="175"/>
                      <a:pt x="137" y="179"/>
                      <a:pt x="128" y="180"/>
                    </a:cubicBezTo>
                    <a:cubicBezTo>
                      <a:pt x="128" y="196"/>
                      <a:pt x="128" y="196"/>
                      <a:pt x="128" y="196"/>
                    </a:cubicBezTo>
                    <a:cubicBezTo>
                      <a:pt x="128" y="197"/>
                      <a:pt x="127" y="198"/>
                      <a:pt x="127" y="198"/>
                    </a:cubicBezTo>
                    <a:cubicBezTo>
                      <a:pt x="126" y="199"/>
                      <a:pt x="126" y="199"/>
                      <a:pt x="125" y="199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12" y="199"/>
                      <a:pt x="111" y="199"/>
                      <a:pt x="111" y="198"/>
                    </a:cubicBezTo>
                    <a:cubicBezTo>
                      <a:pt x="110" y="197"/>
                      <a:pt x="110" y="197"/>
                      <a:pt x="110" y="196"/>
                    </a:cubicBezTo>
                    <a:cubicBezTo>
                      <a:pt x="110" y="180"/>
                      <a:pt x="110" y="180"/>
                      <a:pt x="110" y="180"/>
                    </a:cubicBezTo>
                    <a:cubicBezTo>
                      <a:pt x="106" y="180"/>
                      <a:pt x="102" y="179"/>
                      <a:pt x="99" y="177"/>
                    </a:cubicBezTo>
                    <a:cubicBezTo>
                      <a:pt x="95" y="176"/>
                      <a:pt x="92" y="175"/>
                      <a:pt x="90" y="173"/>
                    </a:cubicBezTo>
                    <a:cubicBezTo>
                      <a:pt x="88" y="172"/>
                      <a:pt x="85" y="171"/>
                      <a:pt x="83" y="169"/>
                    </a:cubicBezTo>
                    <a:cubicBezTo>
                      <a:pt x="81" y="168"/>
                      <a:pt x="80" y="166"/>
                      <a:pt x="79" y="166"/>
                    </a:cubicBezTo>
                    <a:cubicBezTo>
                      <a:pt x="79" y="165"/>
                      <a:pt x="78" y="164"/>
                      <a:pt x="78" y="164"/>
                    </a:cubicBezTo>
                    <a:cubicBezTo>
                      <a:pt x="77" y="163"/>
                      <a:pt x="77" y="162"/>
                      <a:pt x="78" y="160"/>
                    </a:cubicBezTo>
                    <a:cubicBezTo>
                      <a:pt x="87" y="148"/>
                      <a:pt x="87" y="148"/>
                      <a:pt x="87" y="148"/>
                    </a:cubicBezTo>
                    <a:cubicBezTo>
                      <a:pt x="87" y="148"/>
                      <a:pt x="88" y="147"/>
                      <a:pt x="89" y="147"/>
                    </a:cubicBezTo>
                    <a:cubicBezTo>
                      <a:pt x="90" y="147"/>
                      <a:pt x="90" y="147"/>
                      <a:pt x="91" y="148"/>
                    </a:cubicBezTo>
                    <a:cubicBezTo>
                      <a:pt x="91" y="148"/>
                      <a:pt x="91" y="148"/>
                      <a:pt x="91" y="148"/>
                    </a:cubicBezTo>
                    <a:cubicBezTo>
                      <a:pt x="98" y="154"/>
                      <a:pt x="105" y="158"/>
                      <a:pt x="112" y="159"/>
                    </a:cubicBezTo>
                    <a:cubicBezTo>
                      <a:pt x="115" y="160"/>
                      <a:pt x="117" y="160"/>
                      <a:pt x="119" y="160"/>
                    </a:cubicBezTo>
                    <a:cubicBezTo>
                      <a:pt x="124" y="160"/>
                      <a:pt x="128" y="159"/>
                      <a:pt x="131" y="156"/>
                    </a:cubicBezTo>
                    <a:cubicBezTo>
                      <a:pt x="135" y="154"/>
                      <a:pt x="137" y="150"/>
                      <a:pt x="137" y="145"/>
                    </a:cubicBezTo>
                    <a:cubicBezTo>
                      <a:pt x="137" y="144"/>
                      <a:pt x="136" y="142"/>
                      <a:pt x="136" y="140"/>
                    </a:cubicBezTo>
                    <a:cubicBezTo>
                      <a:pt x="135" y="139"/>
                      <a:pt x="134" y="138"/>
                      <a:pt x="133" y="137"/>
                    </a:cubicBezTo>
                    <a:cubicBezTo>
                      <a:pt x="132" y="136"/>
                      <a:pt x="130" y="135"/>
                      <a:pt x="127" y="133"/>
                    </a:cubicBezTo>
                    <a:cubicBezTo>
                      <a:pt x="125" y="132"/>
                      <a:pt x="123" y="131"/>
                      <a:pt x="122" y="130"/>
                    </a:cubicBezTo>
                    <a:cubicBezTo>
                      <a:pt x="120" y="130"/>
                      <a:pt x="118" y="129"/>
                      <a:pt x="115" y="128"/>
                    </a:cubicBezTo>
                    <a:cubicBezTo>
                      <a:pt x="112" y="127"/>
                      <a:pt x="110" y="126"/>
                      <a:pt x="109" y="125"/>
                    </a:cubicBezTo>
                    <a:cubicBezTo>
                      <a:pt x="108" y="125"/>
                      <a:pt x="106" y="124"/>
                      <a:pt x="104" y="123"/>
                    </a:cubicBezTo>
                    <a:cubicBezTo>
                      <a:pt x="101" y="122"/>
                      <a:pt x="100" y="121"/>
                      <a:pt x="98" y="120"/>
                    </a:cubicBezTo>
                    <a:cubicBezTo>
                      <a:pt x="97" y="119"/>
                      <a:pt x="95" y="118"/>
                      <a:pt x="93" y="117"/>
                    </a:cubicBezTo>
                    <a:cubicBezTo>
                      <a:pt x="91" y="116"/>
                      <a:pt x="90" y="114"/>
                      <a:pt x="89" y="113"/>
                    </a:cubicBezTo>
                    <a:cubicBezTo>
                      <a:pt x="87" y="112"/>
                      <a:pt x="86" y="110"/>
                      <a:pt x="85" y="109"/>
                    </a:cubicBezTo>
                    <a:cubicBezTo>
                      <a:pt x="83" y="107"/>
                      <a:pt x="82" y="105"/>
                      <a:pt x="82" y="103"/>
                    </a:cubicBezTo>
                    <a:cubicBezTo>
                      <a:pt x="81" y="102"/>
                      <a:pt x="80" y="100"/>
                      <a:pt x="80" y="97"/>
                    </a:cubicBezTo>
                    <a:cubicBezTo>
                      <a:pt x="79" y="95"/>
                      <a:pt x="79" y="93"/>
                      <a:pt x="79" y="90"/>
                    </a:cubicBezTo>
                    <a:cubicBezTo>
                      <a:pt x="79" y="82"/>
                      <a:pt x="82" y="75"/>
                      <a:pt x="88" y="69"/>
                    </a:cubicBezTo>
                    <a:cubicBezTo>
                      <a:pt x="93" y="62"/>
                      <a:pt x="101" y="58"/>
                      <a:pt x="110" y="57"/>
                    </a:cubicBezTo>
                    <a:cubicBezTo>
                      <a:pt x="110" y="40"/>
                      <a:pt x="110" y="40"/>
                      <a:pt x="110" y="40"/>
                    </a:cubicBezTo>
                    <a:cubicBezTo>
                      <a:pt x="110" y="40"/>
                      <a:pt x="110" y="39"/>
                      <a:pt x="111" y="38"/>
                    </a:cubicBezTo>
                    <a:cubicBezTo>
                      <a:pt x="111" y="38"/>
                      <a:pt x="112" y="37"/>
                      <a:pt x="113" y="37"/>
                    </a:cubicBezTo>
                    <a:cubicBezTo>
                      <a:pt x="125" y="37"/>
                      <a:pt x="125" y="37"/>
                      <a:pt x="125" y="37"/>
                    </a:cubicBezTo>
                    <a:cubicBezTo>
                      <a:pt x="126" y="37"/>
                      <a:pt x="126" y="38"/>
                      <a:pt x="127" y="38"/>
                    </a:cubicBezTo>
                    <a:cubicBezTo>
                      <a:pt x="127" y="39"/>
                      <a:pt x="128" y="39"/>
                      <a:pt x="128" y="40"/>
                    </a:cubicBezTo>
                    <a:cubicBezTo>
                      <a:pt x="128" y="56"/>
                      <a:pt x="128" y="56"/>
                      <a:pt x="128" y="56"/>
                    </a:cubicBezTo>
                    <a:cubicBezTo>
                      <a:pt x="131" y="57"/>
                      <a:pt x="134" y="57"/>
                      <a:pt x="137" y="58"/>
                    </a:cubicBezTo>
                    <a:cubicBezTo>
                      <a:pt x="140" y="59"/>
                      <a:pt x="143" y="60"/>
                      <a:pt x="145" y="61"/>
                    </a:cubicBezTo>
                    <a:cubicBezTo>
                      <a:pt x="147" y="62"/>
                      <a:pt x="149" y="63"/>
                      <a:pt x="151" y="65"/>
                    </a:cubicBezTo>
                    <a:cubicBezTo>
                      <a:pt x="152" y="66"/>
                      <a:pt x="153" y="67"/>
                      <a:pt x="154" y="67"/>
                    </a:cubicBezTo>
                    <a:cubicBezTo>
                      <a:pt x="155" y="68"/>
                      <a:pt x="155" y="68"/>
                      <a:pt x="155" y="69"/>
                    </a:cubicBezTo>
                    <a:cubicBezTo>
                      <a:pt x="156" y="70"/>
                      <a:pt x="156" y="71"/>
                      <a:pt x="156" y="72"/>
                    </a:cubicBezTo>
                    <a:cubicBezTo>
                      <a:pt x="149" y="85"/>
                      <a:pt x="149" y="85"/>
                      <a:pt x="149" y="85"/>
                    </a:cubicBezTo>
                    <a:cubicBezTo>
                      <a:pt x="148" y="86"/>
                      <a:pt x="148" y="86"/>
                      <a:pt x="147" y="87"/>
                    </a:cubicBezTo>
                    <a:cubicBezTo>
                      <a:pt x="146" y="87"/>
                      <a:pt x="145" y="86"/>
                      <a:pt x="144" y="86"/>
                    </a:cubicBezTo>
                    <a:cubicBezTo>
                      <a:pt x="144" y="86"/>
                      <a:pt x="144" y="85"/>
                      <a:pt x="143" y="85"/>
                    </a:cubicBezTo>
                    <a:cubicBezTo>
                      <a:pt x="142" y="84"/>
                      <a:pt x="141" y="83"/>
                      <a:pt x="140" y="82"/>
                    </a:cubicBezTo>
                    <a:cubicBezTo>
                      <a:pt x="138" y="81"/>
                      <a:pt x="136" y="80"/>
                      <a:pt x="134" y="80"/>
                    </a:cubicBezTo>
                    <a:cubicBezTo>
                      <a:pt x="133" y="79"/>
                      <a:pt x="130" y="78"/>
                      <a:pt x="128" y="77"/>
                    </a:cubicBezTo>
                    <a:cubicBezTo>
                      <a:pt x="125" y="77"/>
                      <a:pt x="123" y="76"/>
                      <a:pt x="120" y="76"/>
                    </a:cubicBezTo>
                    <a:cubicBezTo>
                      <a:pt x="115" y="76"/>
                      <a:pt x="110" y="77"/>
                      <a:pt x="107" y="80"/>
                    </a:cubicBezTo>
                    <a:cubicBezTo>
                      <a:pt x="103" y="83"/>
                      <a:pt x="101" y="86"/>
                      <a:pt x="101" y="90"/>
                    </a:cubicBezTo>
                    <a:cubicBezTo>
                      <a:pt x="101" y="92"/>
                      <a:pt x="102" y="93"/>
                      <a:pt x="102" y="94"/>
                    </a:cubicBezTo>
                    <a:cubicBezTo>
                      <a:pt x="103" y="96"/>
                      <a:pt x="103" y="97"/>
                      <a:pt x="105" y="98"/>
                    </a:cubicBezTo>
                    <a:cubicBezTo>
                      <a:pt x="106" y="99"/>
                      <a:pt x="107" y="100"/>
                      <a:pt x="108" y="101"/>
                    </a:cubicBezTo>
                    <a:cubicBezTo>
                      <a:pt x="109" y="102"/>
                      <a:pt x="111" y="103"/>
                      <a:pt x="113" y="104"/>
                    </a:cubicBezTo>
                    <a:cubicBezTo>
                      <a:pt x="115" y="105"/>
                      <a:pt x="117" y="106"/>
                      <a:pt x="118" y="106"/>
                    </a:cubicBezTo>
                    <a:cubicBezTo>
                      <a:pt x="120" y="107"/>
                      <a:pt x="122" y="108"/>
                      <a:pt x="125" y="109"/>
                    </a:cubicBezTo>
                    <a:cubicBezTo>
                      <a:pt x="128" y="110"/>
                      <a:pt x="130" y="111"/>
                      <a:pt x="132" y="112"/>
                    </a:cubicBezTo>
                    <a:cubicBezTo>
                      <a:pt x="133" y="112"/>
                      <a:pt x="136" y="113"/>
                      <a:pt x="138" y="115"/>
                    </a:cubicBezTo>
                    <a:cubicBezTo>
                      <a:pt x="141" y="116"/>
                      <a:pt x="143" y="117"/>
                      <a:pt x="145" y="119"/>
                    </a:cubicBezTo>
                    <a:cubicBezTo>
                      <a:pt x="147" y="120"/>
                      <a:pt x="149" y="121"/>
                      <a:pt x="151" y="123"/>
                    </a:cubicBezTo>
                    <a:cubicBezTo>
                      <a:pt x="153" y="125"/>
                      <a:pt x="154" y="127"/>
                      <a:pt x="155" y="129"/>
                    </a:cubicBezTo>
                    <a:cubicBezTo>
                      <a:pt x="156" y="131"/>
                      <a:pt x="157" y="133"/>
                      <a:pt x="158" y="136"/>
                    </a:cubicBezTo>
                    <a:cubicBezTo>
                      <a:pt x="159" y="138"/>
                      <a:pt x="159" y="141"/>
                      <a:pt x="159" y="144"/>
                    </a:cubicBezTo>
                    <a:cubicBezTo>
                      <a:pt x="159" y="153"/>
                      <a:pt x="156" y="161"/>
                      <a:pt x="150" y="16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8732CE69-3359-4581-AE78-BD1EBA44E9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925" y="3527996"/>
              <a:ext cx="296911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BF0535AD-4CFD-4816-AE8B-73AF3C28B8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93282" y="3522518"/>
              <a:ext cx="2927206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DA25E7A-94E9-459A-AA0B-86378736E31F}"/>
                </a:ext>
              </a:extLst>
            </p:cNvPr>
            <p:cNvSpPr txBox="1"/>
            <p:nvPr/>
          </p:nvSpPr>
          <p:spPr>
            <a:xfrm>
              <a:off x="680909" y="2676203"/>
              <a:ext cx="2958124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r>
                <a:rPr lang="zh-CN" altLang="en-US" b="1" dirty="0">
                  <a:cs typeface="+mn-ea"/>
                  <a:sym typeface="+mn-lt"/>
                </a:rPr>
                <a:t>增强卫生健康意识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4CE1AC9C-B94E-4504-B830-3B58E71C044C}"/>
                </a:ext>
              </a:extLst>
            </p:cNvPr>
            <p:cNvSpPr txBox="1"/>
            <p:nvPr/>
          </p:nvSpPr>
          <p:spPr>
            <a:xfrm>
              <a:off x="680909" y="3011234"/>
              <a:ext cx="2958124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>
                  <a:cs typeface="+mn-ea"/>
                  <a:sym typeface="+mn-lt"/>
                </a:rPr>
                <a:t>Su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porting </a:t>
              </a:r>
              <a:r>
                <a:rPr lang="en-US" altLang="zh-CN" sz="1000" dirty="0">
                  <a:cs typeface="+mn-ea"/>
                  <a:sym typeface="+mn-lt"/>
                </a:rPr>
                <a:t>text here</a:t>
              </a:r>
              <a:endParaRPr lang="zh-CN" altLang="en-US" sz="10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2A2F5BFF-33E1-40F1-B8C8-92FCF749191C}"/>
                </a:ext>
              </a:extLst>
            </p:cNvPr>
            <p:cNvSpPr txBox="1"/>
            <p:nvPr/>
          </p:nvSpPr>
          <p:spPr>
            <a:xfrm>
              <a:off x="680909" y="3732618"/>
              <a:ext cx="2958124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r>
                <a:rPr lang="zh-CN" altLang="en-US" b="1" dirty="0">
                  <a:cs typeface="+mn-ea"/>
                  <a:sym typeface="+mn-lt"/>
                </a:rPr>
                <a:t>提高自身免疫力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243EAC1-AE63-4785-9BF4-46F2D7D48D42}"/>
                </a:ext>
              </a:extLst>
            </p:cNvPr>
            <p:cNvSpPr txBox="1"/>
            <p:nvPr/>
          </p:nvSpPr>
          <p:spPr>
            <a:xfrm>
              <a:off x="680909" y="4067649"/>
              <a:ext cx="2958124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>
                  <a:cs typeface="+mn-ea"/>
                  <a:sym typeface="+mn-lt"/>
                </a:rPr>
                <a:t>Su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porting </a:t>
              </a:r>
              <a:r>
                <a:rPr lang="en-US" altLang="zh-CN" sz="1000" dirty="0">
                  <a:cs typeface="+mn-ea"/>
                  <a:sym typeface="+mn-lt"/>
                </a:rPr>
                <a:t>text here</a:t>
              </a:r>
              <a:endParaRPr lang="zh-CN" altLang="en-US" sz="10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3AC2EDEA-8354-4037-B884-D7677E710D6B}"/>
                </a:ext>
              </a:extLst>
            </p:cNvPr>
            <p:cNvSpPr txBox="1"/>
            <p:nvPr/>
          </p:nvSpPr>
          <p:spPr>
            <a:xfrm>
              <a:off x="8565118" y="2676203"/>
              <a:ext cx="2945973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algn="r"/>
              <a:r>
                <a:rPr lang="zh-CN" altLang="en-US" b="1" dirty="0">
                  <a:cs typeface="+mn-ea"/>
                  <a:sym typeface="+mn-lt"/>
                </a:rPr>
                <a:t>规律休息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C6EAED5-DDBA-4858-892E-1FDDE055D42E}"/>
                </a:ext>
              </a:extLst>
            </p:cNvPr>
            <p:cNvSpPr txBox="1"/>
            <p:nvPr/>
          </p:nvSpPr>
          <p:spPr>
            <a:xfrm>
              <a:off x="8565118" y="3011234"/>
              <a:ext cx="2945973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000">
                  <a:cs typeface="+mn-ea"/>
                  <a:sym typeface="+mn-lt"/>
                </a:rPr>
                <a:t>Su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porting </a:t>
              </a:r>
              <a:r>
                <a:rPr lang="en-US" altLang="zh-CN" sz="1000" dirty="0">
                  <a:cs typeface="+mn-ea"/>
                  <a:sym typeface="+mn-lt"/>
                </a:rPr>
                <a:t>text here</a:t>
              </a:r>
              <a:endParaRPr lang="zh-CN" altLang="en-US" sz="1000" dirty="0"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B236D6F2-F9DD-42A0-8B7F-960A4C03CE71}"/>
                </a:ext>
              </a:extLst>
            </p:cNvPr>
            <p:cNvSpPr txBox="1"/>
            <p:nvPr/>
          </p:nvSpPr>
          <p:spPr>
            <a:xfrm>
              <a:off x="8565118" y="3732618"/>
              <a:ext cx="2945973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algn="r"/>
              <a:r>
                <a:rPr lang="zh-CN" altLang="en-US" b="1" dirty="0">
                  <a:cs typeface="+mn-ea"/>
                  <a:sym typeface="+mn-lt"/>
                </a:rPr>
                <a:t>加强锻炼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8CB1474F-542F-4B7D-85C6-8EA5DC732FD2}"/>
                </a:ext>
              </a:extLst>
            </p:cNvPr>
            <p:cNvSpPr txBox="1"/>
            <p:nvPr/>
          </p:nvSpPr>
          <p:spPr>
            <a:xfrm>
              <a:off x="8565118" y="4067649"/>
              <a:ext cx="2945973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000">
                  <a:cs typeface="+mn-ea"/>
                  <a:sym typeface="+mn-lt"/>
                </a:rPr>
                <a:t>Su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porting </a:t>
              </a:r>
              <a:r>
                <a:rPr lang="en-US" altLang="zh-CN" sz="1000" dirty="0">
                  <a:cs typeface="+mn-ea"/>
                  <a:sym typeface="+mn-lt"/>
                </a:rPr>
                <a:t>text here</a:t>
              </a:r>
              <a:endParaRPr lang="zh-CN" altLang="en-US" sz="1000" dirty="0">
                <a:cs typeface="+mn-ea"/>
                <a:sym typeface="+mn-lt"/>
              </a:endParaRPr>
            </a:p>
          </p:txBody>
        </p:sp>
      </p:grpSp>
      <p:sp>
        <p:nvSpPr>
          <p:cNvPr id="28" name="文本框 27">
            <a:extLst>
              <a:ext uri="{FF2B5EF4-FFF2-40B4-BE49-F238E27FC236}">
                <a16:creationId xmlns:a16="http://schemas.microsoft.com/office/drawing/2014/main" id="{0F040150-BD15-4DCA-A406-450673C51702}"/>
              </a:ext>
            </a:extLst>
          </p:cNvPr>
          <p:cNvSpPr txBox="1"/>
          <p:nvPr/>
        </p:nvSpPr>
        <p:spPr>
          <a:xfrm>
            <a:off x="669924" y="5268237"/>
            <a:ext cx="10850564" cy="76793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t" anchorCtr="0">
            <a:normAutofit/>
          </a:bodyPr>
          <a:lstStyle/>
          <a:p>
            <a:pPr algn="ctr">
              <a:buSzPct val="25000"/>
            </a:pPr>
            <a:r>
              <a:rPr lang="zh-CN" altLang="en-US" dirty="0">
                <a:cs typeface="+mn-ea"/>
                <a:sym typeface="+mn-lt"/>
              </a:rPr>
              <a:t> 目前正处于呼吸道传染病高发季节，广大官兵要增强卫生健康意识，加强锻炼，</a:t>
            </a:r>
            <a:endParaRPr lang="en-US" altLang="zh-CN" dirty="0">
              <a:cs typeface="+mn-ea"/>
              <a:sym typeface="+mn-lt"/>
            </a:endParaRPr>
          </a:p>
          <a:p>
            <a:pPr algn="ctr">
              <a:buSzPct val="25000"/>
            </a:pPr>
            <a:r>
              <a:rPr lang="zh-CN" altLang="en-US" dirty="0">
                <a:cs typeface="+mn-ea"/>
                <a:sym typeface="+mn-lt"/>
              </a:rPr>
              <a:t>规律休息，提高自身免疫力，避免到疫区出差。</a:t>
            </a:r>
          </a:p>
        </p:txBody>
      </p:sp>
      <p:cxnSp>
        <p:nvCxnSpPr>
          <p:cNvPr id="31" name="直接连接符 30"/>
          <p:cNvCxnSpPr/>
          <p:nvPr/>
        </p:nvCxnSpPr>
        <p:spPr>
          <a:xfrm>
            <a:off x="10353052" y="5326293"/>
            <a:ext cx="0" cy="38396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1838948" y="5326293"/>
            <a:ext cx="0" cy="38396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30022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如何预防新型冠状病毒感染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129466" y="1418164"/>
            <a:ext cx="10391022" cy="4533256"/>
            <a:chOff x="1129466" y="1418164"/>
            <a:chExt cx="10391022" cy="4533256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D6A5EEC-14D5-43B9-8CCB-BB1AFA367584}"/>
                </a:ext>
              </a:extLst>
            </p:cNvPr>
            <p:cNvGrpSpPr/>
            <p:nvPr/>
          </p:nvGrpSpPr>
          <p:grpSpPr>
            <a:xfrm>
              <a:off x="1129466" y="2604340"/>
              <a:ext cx="2507299" cy="1107160"/>
              <a:chOff x="487363" y="2937695"/>
              <a:chExt cx="2507299" cy="1107160"/>
            </a:xfrm>
          </p:grpSpPr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2F5D4478-85D1-42F6-9F84-6CF396778DFC}"/>
                  </a:ext>
                </a:extLst>
              </p:cNvPr>
              <p:cNvSpPr txBox="1"/>
              <p:nvPr/>
            </p:nvSpPr>
            <p:spPr>
              <a:xfrm>
                <a:off x="487363" y="3304444"/>
                <a:ext cx="2507299" cy="7404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Autofit/>
              </a:bodyPr>
              <a:lstStyle/>
              <a:p>
                <a:pPr algn="r" defTabSz="914378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 err="1">
                    <a:cs typeface="+mn-ea"/>
                    <a:sym typeface="+mn-lt"/>
                  </a:rPr>
                  <a:t>Suppo</a:t>
                </a:r>
                <a:r>
                  <a:rPr lang="en-US" altLang="zh-CN" sz="100" dirty="0">
                    <a:cs typeface="+mn-ea"/>
                    <a:sym typeface="+mn-lt"/>
                  </a:rPr>
                  <a:t> </a:t>
                </a:r>
                <a:r>
                  <a:rPr lang="en-US" altLang="zh-CN" sz="1100" dirty="0" err="1">
                    <a:cs typeface="+mn-ea"/>
                    <a:sym typeface="+mn-lt"/>
                  </a:rPr>
                  <a:t>rting</a:t>
                </a:r>
                <a:r>
                  <a:rPr lang="en-US" altLang="zh-CN" sz="1100" dirty="0">
                    <a:cs typeface="+mn-ea"/>
                    <a:sym typeface="+mn-lt"/>
                  </a:rPr>
                  <a:t> text here</a:t>
                </a:r>
                <a:br>
                  <a:rPr lang="zh-CN" altLang="en-US" sz="1100" dirty="0">
                    <a:cs typeface="+mn-ea"/>
                    <a:sym typeface="+mn-lt"/>
                  </a:rPr>
                </a:br>
                <a:r>
                  <a:rPr lang="en-US" altLang="zh-CN" sz="1100" dirty="0">
                    <a:cs typeface="+mn-ea"/>
                    <a:sym typeface="+mn-lt"/>
                  </a:rPr>
                  <a:t>Supporting text here</a:t>
                </a:r>
                <a:br>
                  <a:rPr lang="zh-CN" altLang="en-US" sz="1100" dirty="0">
                    <a:cs typeface="+mn-ea"/>
                    <a:sym typeface="+mn-lt"/>
                  </a:rPr>
                </a:br>
                <a:endParaRPr lang="zh-CN" altLang="en-US" sz="1100" dirty="0">
                  <a:cs typeface="+mn-ea"/>
                  <a:sym typeface="+mn-lt"/>
                </a:endParaRP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46B7D336-D30F-4792-B2A1-7BB1C928A543}"/>
                  </a:ext>
                </a:extLst>
              </p:cNvPr>
              <p:cNvSpPr/>
              <p:nvPr/>
            </p:nvSpPr>
            <p:spPr>
              <a:xfrm>
                <a:off x="487363" y="2937695"/>
                <a:ext cx="2507299" cy="366749"/>
              </a:xfrm>
              <a:prstGeom prst="rect">
                <a:avLst/>
              </a:prstGeom>
            </p:spPr>
            <p:txBody>
              <a:bodyPr wrap="square" lIns="91440" tIns="45720" rIns="91440" bIns="45720" anchor="b">
                <a:no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cs typeface="+mn-ea"/>
                    <a:sym typeface="+mn-lt"/>
                  </a:rPr>
                  <a:t>保持室内空气流通</a:t>
                </a: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4DAE5FEE-9D93-4793-B1FC-F7A85FA95DE8}"/>
                </a:ext>
              </a:extLst>
            </p:cNvPr>
            <p:cNvSpPr/>
            <p:nvPr/>
          </p:nvSpPr>
          <p:spPr>
            <a:xfrm>
              <a:off x="4799187" y="2629420"/>
              <a:ext cx="3026792" cy="3026792"/>
            </a:xfrm>
            <a:prstGeom prst="ellipse">
              <a:avLst/>
            </a:prstGeom>
            <a:solidFill>
              <a:schemeClr val="accent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altLang="zh-CN" sz="4000" dirty="0">
                  <a:cs typeface="+mn-ea"/>
                  <a:sym typeface="+mn-lt"/>
                </a:rPr>
                <a:t>    03</a:t>
              </a: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97CBD5C3-4A08-43CC-9577-FE6481FDB57A}"/>
                </a:ext>
              </a:extLst>
            </p:cNvPr>
            <p:cNvSpPr/>
            <p:nvPr/>
          </p:nvSpPr>
          <p:spPr>
            <a:xfrm>
              <a:off x="4144800" y="3747786"/>
              <a:ext cx="1816074" cy="1816075"/>
            </a:xfrm>
            <a:prstGeom prst="ellipse">
              <a:avLst/>
            </a:prstGeom>
            <a:solidFill>
              <a:schemeClr val="accent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altLang="zh-CN" sz="2800" dirty="0">
                  <a:cs typeface="+mn-ea"/>
                  <a:sym typeface="+mn-lt"/>
                </a:rPr>
                <a:t>02</a:t>
              </a: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8CE8E484-2FD2-4A08-809B-51F4267BE01F}"/>
                </a:ext>
              </a:extLst>
            </p:cNvPr>
            <p:cNvSpPr/>
            <p:nvPr/>
          </p:nvSpPr>
          <p:spPr>
            <a:xfrm>
              <a:off x="4074952" y="2744626"/>
              <a:ext cx="1210717" cy="1210718"/>
            </a:xfrm>
            <a:prstGeom prst="ellipse">
              <a:avLst/>
            </a:prstGeom>
            <a:solidFill>
              <a:schemeClr val="accent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altLang="zh-CN" sz="2400" dirty="0">
                  <a:cs typeface="+mn-ea"/>
                  <a:sym typeface="+mn-lt"/>
                </a:rPr>
                <a:t>01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3D2CBEB4-B6CC-48A5-894B-95424BAA1C0A}"/>
                </a:ext>
              </a:extLst>
            </p:cNvPr>
            <p:cNvSpPr/>
            <p:nvPr/>
          </p:nvSpPr>
          <p:spPr>
            <a:xfrm>
              <a:off x="3894108" y="1982115"/>
              <a:ext cx="3931872" cy="3931873"/>
            </a:xfrm>
            <a:prstGeom prst="ellipse">
              <a:avLst/>
            </a:prstGeom>
            <a:noFill/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760E036E-495A-44F1-A9E7-A24AB7377FA7}"/>
                </a:ext>
              </a:extLst>
            </p:cNvPr>
            <p:cNvSpPr/>
            <p:nvPr/>
          </p:nvSpPr>
          <p:spPr>
            <a:xfrm>
              <a:off x="7430815" y="4563351"/>
              <a:ext cx="498143" cy="498143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67DB6C3-891E-42BE-8BA4-D1AA1A433849}"/>
                </a:ext>
              </a:extLst>
            </p:cNvPr>
            <p:cNvSpPr/>
            <p:nvPr/>
          </p:nvSpPr>
          <p:spPr bwMode="auto">
            <a:xfrm>
              <a:off x="7533730" y="4675243"/>
              <a:ext cx="292314" cy="274359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364268DF-69C2-45F2-8DE0-E4FA12AC2265}"/>
                </a:ext>
              </a:extLst>
            </p:cNvPr>
            <p:cNvSpPr/>
            <p:nvPr/>
          </p:nvSpPr>
          <p:spPr>
            <a:xfrm>
              <a:off x="4120306" y="5011589"/>
              <a:ext cx="498143" cy="498143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297A9562-5E78-44D6-B095-57434BEA9BF1}"/>
                </a:ext>
              </a:extLst>
            </p:cNvPr>
            <p:cNvSpPr/>
            <p:nvPr/>
          </p:nvSpPr>
          <p:spPr>
            <a:xfrm>
              <a:off x="3821529" y="2993131"/>
              <a:ext cx="498143" cy="498143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A2A6A43-4689-4374-874A-2E43908A79A5}"/>
                </a:ext>
              </a:extLst>
            </p:cNvPr>
            <p:cNvSpPr/>
            <p:nvPr/>
          </p:nvSpPr>
          <p:spPr bwMode="auto">
            <a:xfrm>
              <a:off x="4223221" y="5123481"/>
              <a:ext cx="292314" cy="274359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526AEA5D-FB7D-4A97-B04B-2B55E0EF34F1}"/>
                </a:ext>
              </a:extLst>
            </p:cNvPr>
            <p:cNvSpPr txBox="1"/>
            <p:nvPr/>
          </p:nvSpPr>
          <p:spPr>
            <a:xfrm>
              <a:off x="7692520" y="1418164"/>
              <a:ext cx="472878" cy="452191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05E00AB2-F898-4752-84C9-C840C15AB784}"/>
                </a:ext>
              </a:extLst>
            </p:cNvPr>
            <p:cNvSpPr/>
            <p:nvPr/>
          </p:nvSpPr>
          <p:spPr>
            <a:xfrm>
              <a:off x="7692522" y="1870355"/>
              <a:ext cx="3827966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000" b="1" dirty="0">
                  <a:cs typeface="+mn-ea"/>
                  <a:sym typeface="+mn-lt"/>
                </a:rPr>
                <a:t>加强自身防护</a:t>
              </a: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1F7C261-1E82-4BCB-A1DD-593EE6B74C22}"/>
                </a:ext>
              </a:extLst>
            </p:cNvPr>
            <p:cNvSpPr/>
            <p:nvPr/>
          </p:nvSpPr>
          <p:spPr bwMode="auto">
            <a:xfrm>
              <a:off x="3924442" y="3105023"/>
              <a:ext cx="292313" cy="274358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1893A705-F307-4DAA-AA34-D1444593A926}"/>
                </a:ext>
              </a:extLst>
            </p:cNvPr>
            <p:cNvSpPr/>
            <p:nvPr/>
          </p:nvSpPr>
          <p:spPr>
            <a:xfrm>
              <a:off x="7692521" y="2257250"/>
              <a:ext cx="3827967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rting </a:t>
              </a:r>
              <a:r>
                <a:rPr lang="en-US" altLang="zh-CN" sz="1100" dirty="0">
                  <a:cs typeface="+mn-ea"/>
                  <a:sym typeface="+mn-lt"/>
                </a:rPr>
                <a:t>text here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Supporting text here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</a:t>
              </a:r>
            </a:p>
          </p:txBody>
        </p: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5A644EC1-8029-4CB4-AEEC-AB85788FC677}"/>
                </a:ext>
              </a:extLst>
            </p:cNvPr>
            <p:cNvGrpSpPr/>
            <p:nvPr/>
          </p:nvGrpSpPr>
          <p:grpSpPr>
            <a:xfrm>
              <a:off x="1129466" y="4844260"/>
              <a:ext cx="2507299" cy="1107160"/>
              <a:chOff x="487363" y="2937695"/>
              <a:chExt cx="2507299" cy="1107160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F411F893-7535-41C8-BBB8-B2FE3DC9FDCC}"/>
                  </a:ext>
                </a:extLst>
              </p:cNvPr>
              <p:cNvSpPr txBox="1"/>
              <p:nvPr/>
            </p:nvSpPr>
            <p:spPr>
              <a:xfrm>
                <a:off x="487363" y="3304444"/>
                <a:ext cx="2507299" cy="7404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Autofit/>
              </a:bodyPr>
              <a:lstStyle/>
              <a:p>
                <a:pPr algn="r" defTabSz="914378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 err="1">
                    <a:cs typeface="+mn-ea"/>
                    <a:sym typeface="+mn-lt"/>
                  </a:rPr>
                  <a:t>Suppo</a:t>
                </a:r>
                <a:r>
                  <a:rPr lang="en-US" altLang="zh-CN" sz="100" dirty="0">
                    <a:cs typeface="+mn-ea"/>
                    <a:sym typeface="+mn-lt"/>
                  </a:rPr>
                  <a:t> </a:t>
                </a:r>
                <a:r>
                  <a:rPr lang="en-US" altLang="zh-CN" sz="1100" dirty="0" err="1">
                    <a:cs typeface="+mn-ea"/>
                    <a:sym typeface="+mn-lt"/>
                  </a:rPr>
                  <a:t>rting</a:t>
                </a:r>
                <a:r>
                  <a:rPr lang="en-US" altLang="zh-CN" sz="1100" dirty="0">
                    <a:cs typeface="+mn-ea"/>
                    <a:sym typeface="+mn-lt"/>
                  </a:rPr>
                  <a:t> text here</a:t>
                </a:r>
                <a:br>
                  <a:rPr lang="zh-CN" altLang="en-US" sz="1100" dirty="0">
                    <a:cs typeface="+mn-ea"/>
                    <a:sym typeface="+mn-lt"/>
                  </a:rPr>
                </a:br>
                <a:r>
                  <a:rPr lang="en-US" altLang="zh-CN" sz="1100" dirty="0">
                    <a:cs typeface="+mn-ea"/>
                    <a:sym typeface="+mn-lt"/>
                  </a:rPr>
                  <a:t>Supporting text here</a:t>
                </a:r>
                <a:br>
                  <a:rPr lang="zh-CN" altLang="en-US" sz="1100" dirty="0">
                    <a:cs typeface="+mn-ea"/>
                    <a:sym typeface="+mn-lt"/>
                  </a:rPr>
                </a:br>
                <a:endParaRPr lang="zh-CN" altLang="en-US" sz="1100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3C0C88B5-74E7-4AC9-AE5F-521A9B0D2E32}"/>
                  </a:ext>
                </a:extLst>
              </p:cNvPr>
              <p:cNvSpPr/>
              <p:nvPr/>
            </p:nvSpPr>
            <p:spPr>
              <a:xfrm>
                <a:off x="487363" y="2937695"/>
                <a:ext cx="2507299" cy="366749"/>
              </a:xfrm>
              <a:prstGeom prst="rect">
                <a:avLst/>
              </a:prstGeom>
            </p:spPr>
            <p:txBody>
              <a:bodyPr wrap="square" lIns="91440" tIns="45720" rIns="91440" bIns="45720" anchor="b">
                <a:no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cs typeface="+mn-ea"/>
                    <a:sym typeface="+mn-lt"/>
                  </a:rPr>
                  <a:t>勤洗手</a:t>
                </a: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825DB21C-74D9-4457-BBA9-A0DE608086E9}"/>
                </a:ext>
              </a:extLst>
            </p:cNvPr>
            <p:cNvGrpSpPr/>
            <p:nvPr/>
          </p:nvGrpSpPr>
          <p:grpSpPr>
            <a:xfrm>
              <a:off x="8006717" y="4332676"/>
              <a:ext cx="2507299" cy="1107160"/>
              <a:chOff x="487363" y="2937695"/>
              <a:chExt cx="2507299" cy="1107160"/>
            </a:xfrm>
          </p:grpSpPr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A28985C3-31E8-4822-A538-57C565D5CDA8}"/>
                  </a:ext>
                </a:extLst>
              </p:cNvPr>
              <p:cNvSpPr txBox="1"/>
              <p:nvPr/>
            </p:nvSpPr>
            <p:spPr>
              <a:xfrm>
                <a:off x="487363" y="3304444"/>
                <a:ext cx="2507299" cy="7404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Autofit/>
              </a:bodyPr>
              <a:lstStyle/>
              <a:p>
                <a:pPr defTabSz="914378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 err="1">
                    <a:cs typeface="+mn-ea"/>
                    <a:sym typeface="+mn-lt"/>
                  </a:rPr>
                  <a:t>Suppo</a:t>
                </a:r>
                <a:r>
                  <a:rPr lang="en-US" altLang="zh-CN" sz="100" dirty="0">
                    <a:cs typeface="+mn-ea"/>
                    <a:sym typeface="+mn-lt"/>
                  </a:rPr>
                  <a:t> </a:t>
                </a:r>
                <a:r>
                  <a:rPr lang="en-US" altLang="zh-CN" sz="1100" dirty="0" err="1">
                    <a:cs typeface="+mn-ea"/>
                    <a:sym typeface="+mn-lt"/>
                  </a:rPr>
                  <a:t>rting</a:t>
                </a:r>
                <a:r>
                  <a:rPr lang="en-US" altLang="zh-CN" sz="1100" dirty="0">
                    <a:cs typeface="+mn-ea"/>
                    <a:sym typeface="+mn-lt"/>
                  </a:rPr>
                  <a:t> text here</a:t>
                </a:r>
                <a:br>
                  <a:rPr lang="zh-CN" altLang="en-US" sz="1100" dirty="0">
                    <a:cs typeface="+mn-ea"/>
                    <a:sym typeface="+mn-lt"/>
                  </a:rPr>
                </a:br>
                <a:r>
                  <a:rPr lang="en-US" altLang="zh-CN" sz="1100" dirty="0">
                    <a:cs typeface="+mn-ea"/>
                    <a:sym typeface="+mn-lt"/>
                  </a:rPr>
                  <a:t>Supporting text here</a:t>
                </a:r>
                <a:br>
                  <a:rPr lang="zh-CN" altLang="en-US" sz="1100" dirty="0">
                    <a:cs typeface="+mn-ea"/>
                    <a:sym typeface="+mn-lt"/>
                  </a:rPr>
                </a:br>
                <a:endParaRPr lang="zh-CN" altLang="en-US" sz="1100" dirty="0">
                  <a:cs typeface="+mn-ea"/>
                  <a:sym typeface="+mn-lt"/>
                </a:endParaRP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E083D102-4F6C-4A84-A563-132BAF3C10AC}"/>
                  </a:ext>
                </a:extLst>
              </p:cNvPr>
              <p:cNvSpPr/>
              <p:nvPr/>
            </p:nvSpPr>
            <p:spPr>
              <a:xfrm>
                <a:off x="487363" y="2937695"/>
                <a:ext cx="2507299" cy="366749"/>
              </a:xfrm>
              <a:prstGeom prst="rect">
                <a:avLst/>
              </a:prstGeom>
            </p:spPr>
            <p:txBody>
              <a:bodyPr wrap="square" lIns="91440" tIns="45720" rIns="91440" bIns="45720" anchor="b">
                <a:no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cs typeface="+mn-ea"/>
                    <a:sym typeface="+mn-lt"/>
                  </a:rPr>
                  <a:t>加强体温监测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49841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洗手六步法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7334" y="1448986"/>
            <a:ext cx="10857333" cy="3990039"/>
            <a:chOff x="667334" y="1448986"/>
            <a:chExt cx="10857333" cy="3990039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0E84DE8-C4A7-4BEC-A326-6589633669FB}"/>
                </a:ext>
              </a:extLst>
            </p:cNvPr>
            <p:cNvSpPr/>
            <p:nvPr/>
          </p:nvSpPr>
          <p:spPr bwMode="auto">
            <a:xfrm>
              <a:off x="667336" y="1854000"/>
              <a:ext cx="3535754" cy="4975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defRPr/>
              </a:pPr>
              <a:r>
                <a:rPr lang="zh-CN" altLang="en-US" b="1" kern="0" dirty="0">
                  <a:cs typeface="+mn-ea"/>
                  <a:sym typeface="+mn-lt"/>
                </a:rPr>
                <a:t>第一步</a:t>
              </a:r>
            </a:p>
          </p:txBody>
        </p:sp>
        <p:sp>
          <p:nvSpPr>
            <p:cNvPr id="7" name="矩形: 剪去左右顶角 6">
              <a:extLst>
                <a:ext uri="{FF2B5EF4-FFF2-40B4-BE49-F238E27FC236}">
                  <a16:creationId xmlns:a16="http://schemas.microsoft.com/office/drawing/2014/main" id="{06FB6006-203B-44B5-90E8-C0A9F3BC2514}"/>
                </a:ext>
              </a:extLst>
            </p:cNvPr>
            <p:cNvSpPr/>
            <p:nvPr/>
          </p:nvSpPr>
          <p:spPr>
            <a:xfrm>
              <a:off x="667334" y="2351567"/>
              <a:ext cx="3535757" cy="807633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cs typeface="+mn-ea"/>
                  <a:sym typeface="+mn-lt"/>
                </a:rPr>
                <a:t>双手掌心相对摩擦</a:t>
              </a: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D95E8720-CA27-4DAF-959D-8A6301CA13A9}"/>
                </a:ext>
              </a:extLst>
            </p:cNvPr>
            <p:cNvSpPr/>
            <p:nvPr/>
          </p:nvSpPr>
          <p:spPr bwMode="auto">
            <a:xfrm>
              <a:off x="4324580" y="1854000"/>
              <a:ext cx="3535754" cy="4975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defRPr/>
              </a:pPr>
              <a:r>
                <a:rPr lang="zh-CN" altLang="en-US" b="1" kern="0" dirty="0">
                  <a:cs typeface="+mn-ea"/>
                  <a:sym typeface="+mn-lt"/>
                </a:rPr>
                <a:t>第二步</a:t>
              </a:r>
            </a:p>
          </p:txBody>
        </p:sp>
        <p:sp>
          <p:nvSpPr>
            <p:cNvPr id="9" name="矩形: 剪去左右顶角 8">
              <a:extLst>
                <a:ext uri="{FF2B5EF4-FFF2-40B4-BE49-F238E27FC236}">
                  <a16:creationId xmlns:a16="http://schemas.microsoft.com/office/drawing/2014/main" id="{105A9350-C2AC-4EE3-BB8E-2DEB522A9BDF}"/>
                </a:ext>
              </a:extLst>
            </p:cNvPr>
            <p:cNvSpPr/>
            <p:nvPr/>
          </p:nvSpPr>
          <p:spPr>
            <a:xfrm>
              <a:off x="4324578" y="2351567"/>
              <a:ext cx="3535757" cy="807633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cs typeface="+mn-ea"/>
                  <a:sym typeface="+mn-lt"/>
                </a:rPr>
                <a:t>双手掌心向下相叠，十指交叉，摩擦指缝和手背；双手位置交换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2D07C02A-3C45-4BB6-B101-F498924D8D6A}"/>
                </a:ext>
              </a:extLst>
            </p:cNvPr>
            <p:cNvSpPr/>
            <p:nvPr/>
          </p:nvSpPr>
          <p:spPr bwMode="auto">
            <a:xfrm>
              <a:off x="7981824" y="1854000"/>
              <a:ext cx="3535754" cy="4975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defRPr/>
              </a:pPr>
              <a:r>
                <a:rPr lang="zh-CN" altLang="en-US" b="1" kern="0" dirty="0">
                  <a:cs typeface="+mn-ea"/>
                  <a:sym typeface="+mn-lt"/>
                </a:rPr>
                <a:t>第三步</a:t>
              </a:r>
            </a:p>
          </p:txBody>
        </p:sp>
        <p:sp>
          <p:nvSpPr>
            <p:cNvPr id="11" name="矩形: 剪去左右顶角 10">
              <a:extLst>
                <a:ext uri="{FF2B5EF4-FFF2-40B4-BE49-F238E27FC236}">
                  <a16:creationId xmlns:a16="http://schemas.microsoft.com/office/drawing/2014/main" id="{5FCF8155-06CA-4ECB-A805-ADA540C7CB35}"/>
                </a:ext>
              </a:extLst>
            </p:cNvPr>
            <p:cNvSpPr/>
            <p:nvPr/>
          </p:nvSpPr>
          <p:spPr>
            <a:xfrm>
              <a:off x="7981822" y="2351567"/>
              <a:ext cx="3535757" cy="807633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cs typeface="+mn-ea"/>
                  <a:sym typeface="+mn-lt"/>
                </a:rPr>
                <a:t>十指相握，相对摩擦指尖和甲沟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DFA7B336-74C3-441A-AC9B-2CD6CBED4846}"/>
                </a:ext>
              </a:extLst>
            </p:cNvPr>
            <p:cNvSpPr/>
            <p:nvPr/>
          </p:nvSpPr>
          <p:spPr bwMode="auto">
            <a:xfrm flipH="1">
              <a:off x="667336" y="4133825"/>
              <a:ext cx="3535754" cy="4975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defRPr/>
              </a:pPr>
              <a:r>
                <a:rPr lang="zh-CN" altLang="en-US" b="1" kern="0" dirty="0">
                  <a:cs typeface="+mn-ea"/>
                  <a:sym typeface="+mn-lt"/>
                </a:rPr>
                <a:t>第六步</a:t>
              </a:r>
            </a:p>
          </p:txBody>
        </p:sp>
        <p:sp>
          <p:nvSpPr>
            <p:cNvPr id="13" name="矩形: 剪去左右顶角 12">
              <a:extLst>
                <a:ext uri="{FF2B5EF4-FFF2-40B4-BE49-F238E27FC236}">
                  <a16:creationId xmlns:a16="http://schemas.microsoft.com/office/drawing/2014/main" id="{FAA4D18C-345D-49AE-A2F1-AF72937EC73A}"/>
                </a:ext>
              </a:extLst>
            </p:cNvPr>
            <p:cNvSpPr/>
            <p:nvPr/>
          </p:nvSpPr>
          <p:spPr>
            <a:xfrm>
              <a:off x="667334" y="4631392"/>
              <a:ext cx="3535757" cy="807633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cs typeface="+mn-ea"/>
                  <a:sym typeface="+mn-lt"/>
                </a:rPr>
                <a:t>一只手摩擦对侧手腕，再交换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83C900DD-A09C-45A0-9639-9B86C57F912F}"/>
                </a:ext>
              </a:extLst>
            </p:cNvPr>
            <p:cNvSpPr/>
            <p:nvPr/>
          </p:nvSpPr>
          <p:spPr bwMode="auto">
            <a:xfrm flipH="1">
              <a:off x="4324580" y="4133825"/>
              <a:ext cx="3535754" cy="4975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defRPr/>
              </a:pPr>
              <a:r>
                <a:rPr lang="zh-CN" altLang="en-US" b="1" kern="0" dirty="0">
                  <a:cs typeface="+mn-ea"/>
                  <a:sym typeface="+mn-lt"/>
                </a:rPr>
                <a:t>第五步</a:t>
              </a:r>
            </a:p>
          </p:txBody>
        </p:sp>
        <p:sp>
          <p:nvSpPr>
            <p:cNvPr id="15" name="矩形: 剪去左右顶角 14">
              <a:extLst>
                <a:ext uri="{FF2B5EF4-FFF2-40B4-BE49-F238E27FC236}">
                  <a16:creationId xmlns:a16="http://schemas.microsoft.com/office/drawing/2014/main" id="{BB303FCF-358A-44DF-AB46-82B9C3C03C27}"/>
                </a:ext>
              </a:extLst>
            </p:cNvPr>
            <p:cNvSpPr/>
            <p:nvPr/>
          </p:nvSpPr>
          <p:spPr>
            <a:xfrm>
              <a:off x="4324578" y="4631392"/>
              <a:ext cx="3535757" cy="807633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cs typeface="+mn-ea"/>
                  <a:sym typeface="+mn-lt"/>
                </a:rPr>
                <a:t>弯曲手指关节，让指尖合拢后在另一手掌心旋转揉搓，然后换边</a:t>
              </a: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6A628BDE-287C-4D1A-A352-9DE32CBEAB10}"/>
                </a:ext>
              </a:extLst>
            </p:cNvPr>
            <p:cNvSpPr/>
            <p:nvPr/>
          </p:nvSpPr>
          <p:spPr bwMode="auto">
            <a:xfrm flipH="1">
              <a:off x="7981824" y="4133825"/>
              <a:ext cx="3535754" cy="4975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defRPr/>
              </a:pPr>
              <a:r>
                <a:rPr lang="zh-CN" altLang="en-US" b="1" kern="0" dirty="0">
                  <a:cs typeface="+mn-ea"/>
                  <a:sym typeface="+mn-lt"/>
                </a:rPr>
                <a:t>第四步</a:t>
              </a:r>
            </a:p>
          </p:txBody>
        </p:sp>
        <p:sp>
          <p:nvSpPr>
            <p:cNvPr id="17" name="矩形: 剪去左右顶角 16">
              <a:extLst>
                <a:ext uri="{FF2B5EF4-FFF2-40B4-BE49-F238E27FC236}">
                  <a16:creationId xmlns:a16="http://schemas.microsoft.com/office/drawing/2014/main" id="{A8C332F2-C55A-451D-AC51-C834AEF45F95}"/>
                </a:ext>
              </a:extLst>
            </p:cNvPr>
            <p:cNvSpPr/>
            <p:nvPr/>
          </p:nvSpPr>
          <p:spPr>
            <a:xfrm>
              <a:off x="7981822" y="4631392"/>
              <a:ext cx="3535757" cy="807633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cs typeface="+mn-ea"/>
                  <a:sym typeface="+mn-lt"/>
                </a:rPr>
                <a:t>一只手握对侧手拇指摩擦，再交换</a:t>
              </a:r>
            </a:p>
          </p:txBody>
        </p:sp>
        <p:sp>
          <p:nvSpPr>
            <p:cNvPr id="18" name="箭头: 下 17">
              <a:extLst>
                <a:ext uri="{FF2B5EF4-FFF2-40B4-BE49-F238E27FC236}">
                  <a16:creationId xmlns:a16="http://schemas.microsoft.com/office/drawing/2014/main" id="{8995A771-8B8C-40F1-9325-FF5C9660AF4F}"/>
                </a:ext>
              </a:extLst>
            </p:cNvPr>
            <p:cNvSpPr/>
            <p:nvPr/>
          </p:nvSpPr>
          <p:spPr bwMode="auto">
            <a:xfrm>
              <a:off x="11288539" y="3299382"/>
              <a:ext cx="236128" cy="319374"/>
            </a:xfrm>
            <a:prstGeom prst="downArrow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 fontScale="70000" lnSpcReduction="20000"/>
            </a:bodyPr>
            <a:lstStyle/>
            <a:p>
              <a:pPr algn="ctr"/>
              <a:endParaRPr lang="zh-CN" altLang="en-US" dirty="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D850A73E-5740-46AF-9AB2-07409F9CD887}"/>
                </a:ext>
              </a:extLst>
            </p:cNvPr>
            <p:cNvGrpSpPr/>
            <p:nvPr/>
          </p:nvGrpSpPr>
          <p:grpSpPr>
            <a:xfrm>
              <a:off x="4140009" y="1978959"/>
              <a:ext cx="247650" cy="247650"/>
              <a:chOff x="6971231" y="3514724"/>
              <a:chExt cx="247650" cy="247650"/>
            </a:xfrm>
          </p:grpSpPr>
          <p:sp>
            <p:nvSpPr>
              <p:cNvPr id="35" name="流程图: 接点 34">
                <a:extLst>
                  <a:ext uri="{FF2B5EF4-FFF2-40B4-BE49-F238E27FC236}">
                    <a16:creationId xmlns:a16="http://schemas.microsoft.com/office/drawing/2014/main" id="{FCD123D0-1566-4785-A15A-C20453E8D7A8}"/>
                  </a:ext>
                </a:extLst>
              </p:cNvPr>
              <p:cNvSpPr/>
              <p:nvPr/>
            </p:nvSpPr>
            <p:spPr>
              <a:xfrm>
                <a:off x="6971231" y="3514724"/>
                <a:ext cx="247650" cy="247650"/>
              </a:xfrm>
              <a:prstGeom prst="flowChartConnector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6" name="等腰三角形 35">
                <a:extLst>
                  <a:ext uri="{FF2B5EF4-FFF2-40B4-BE49-F238E27FC236}">
                    <a16:creationId xmlns:a16="http://schemas.microsoft.com/office/drawing/2014/main" id="{727FBAC7-0A5B-4867-8A91-E8526322FFFE}"/>
                  </a:ext>
                </a:extLst>
              </p:cNvPr>
              <p:cNvSpPr/>
              <p:nvPr/>
            </p:nvSpPr>
            <p:spPr>
              <a:xfrm rot="5400000">
                <a:off x="7037906" y="3589282"/>
                <a:ext cx="114300" cy="98534"/>
              </a:xfrm>
              <a:prstGeom prst="triangl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263DDEC3-4601-464B-B940-19E9CF03AF08}"/>
                </a:ext>
              </a:extLst>
            </p:cNvPr>
            <p:cNvGrpSpPr/>
            <p:nvPr/>
          </p:nvGrpSpPr>
          <p:grpSpPr>
            <a:xfrm>
              <a:off x="7797253" y="1978959"/>
              <a:ext cx="247650" cy="247650"/>
              <a:chOff x="6971231" y="3514724"/>
              <a:chExt cx="247650" cy="247650"/>
            </a:xfrm>
          </p:grpSpPr>
          <p:sp>
            <p:nvSpPr>
              <p:cNvPr id="33" name="流程图: 接点 32">
                <a:extLst>
                  <a:ext uri="{FF2B5EF4-FFF2-40B4-BE49-F238E27FC236}">
                    <a16:creationId xmlns:a16="http://schemas.microsoft.com/office/drawing/2014/main" id="{0335821E-E562-4D86-975E-1275C3BAA161}"/>
                  </a:ext>
                </a:extLst>
              </p:cNvPr>
              <p:cNvSpPr/>
              <p:nvPr/>
            </p:nvSpPr>
            <p:spPr>
              <a:xfrm>
                <a:off x="6971231" y="3514724"/>
                <a:ext cx="247650" cy="247650"/>
              </a:xfrm>
              <a:prstGeom prst="flowChartConnector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4" name="等腰三角形 33">
                <a:extLst>
                  <a:ext uri="{FF2B5EF4-FFF2-40B4-BE49-F238E27FC236}">
                    <a16:creationId xmlns:a16="http://schemas.microsoft.com/office/drawing/2014/main" id="{2F4BE82D-8386-477D-B526-5B5A0779B978}"/>
                  </a:ext>
                </a:extLst>
              </p:cNvPr>
              <p:cNvSpPr/>
              <p:nvPr/>
            </p:nvSpPr>
            <p:spPr>
              <a:xfrm rot="5400000">
                <a:off x="7037906" y="3589282"/>
                <a:ext cx="114300" cy="98534"/>
              </a:xfrm>
              <a:prstGeom prst="triangl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AED07120-03FA-4161-BBEE-A832D754F6F1}"/>
                </a:ext>
              </a:extLst>
            </p:cNvPr>
            <p:cNvGrpSpPr/>
            <p:nvPr/>
          </p:nvGrpSpPr>
          <p:grpSpPr>
            <a:xfrm flipH="1">
              <a:off x="4140009" y="4258784"/>
              <a:ext cx="247650" cy="247650"/>
              <a:chOff x="6971231" y="3514724"/>
              <a:chExt cx="247650" cy="247650"/>
            </a:xfrm>
          </p:grpSpPr>
          <p:sp>
            <p:nvSpPr>
              <p:cNvPr id="31" name="流程图: 接点 30">
                <a:extLst>
                  <a:ext uri="{FF2B5EF4-FFF2-40B4-BE49-F238E27FC236}">
                    <a16:creationId xmlns:a16="http://schemas.microsoft.com/office/drawing/2014/main" id="{4807AA2D-FD6D-46AE-A96F-F38C1F7E9348}"/>
                  </a:ext>
                </a:extLst>
              </p:cNvPr>
              <p:cNvSpPr/>
              <p:nvPr/>
            </p:nvSpPr>
            <p:spPr>
              <a:xfrm>
                <a:off x="6971231" y="3514724"/>
                <a:ext cx="247650" cy="247650"/>
              </a:xfrm>
              <a:prstGeom prst="flowChartConnector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2" name="等腰三角形 31">
                <a:extLst>
                  <a:ext uri="{FF2B5EF4-FFF2-40B4-BE49-F238E27FC236}">
                    <a16:creationId xmlns:a16="http://schemas.microsoft.com/office/drawing/2014/main" id="{F20E06A0-7E26-4B85-A358-43EE39422AC9}"/>
                  </a:ext>
                </a:extLst>
              </p:cNvPr>
              <p:cNvSpPr/>
              <p:nvPr/>
            </p:nvSpPr>
            <p:spPr>
              <a:xfrm rot="5400000">
                <a:off x="7037906" y="3589282"/>
                <a:ext cx="114300" cy="98534"/>
              </a:xfrm>
              <a:prstGeom prst="triangl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1A97413D-DD15-4017-A735-B81722E7B1C8}"/>
                </a:ext>
              </a:extLst>
            </p:cNvPr>
            <p:cNvGrpSpPr/>
            <p:nvPr/>
          </p:nvGrpSpPr>
          <p:grpSpPr>
            <a:xfrm flipH="1">
              <a:off x="7797253" y="4258784"/>
              <a:ext cx="247650" cy="247650"/>
              <a:chOff x="6971231" y="3514724"/>
              <a:chExt cx="247650" cy="247650"/>
            </a:xfrm>
          </p:grpSpPr>
          <p:sp>
            <p:nvSpPr>
              <p:cNvPr id="29" name="流程图: 接点 28">
                <a:extLst>
                  <a:ext uri="{FF2B5EF4-FFF2-40B4-BE49-F238E27FC236}">
                    <a16:creationId xmlns:a16="http://schemas.microsoft.com/office/drawing/2014/main" id="{8FA23C8B-84B2-4714-9B31-FAD750B15BA7}"/>
                  </a:ext>
                </a:extLst>
              </p:cNvPr>
              <p:cNvSpPr/>
              <p:nvPr/>
            </p:nvSpPr>
            <p:spPr>
              <a:xfrm>
                <a:off x="6971231" y="3514724"/>
                <a:ext cx="247650" cy="247650"/>
              </a:xfrm>
              <a:prstGeom prst="flowChartConnector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0" name="等腰三角形 29">
                <a:extLst>
                  <a:ext uri="{FF2B5EF4-FFF2-40B4-BE49-F238E27FC236}">
                    <a16:creationId xmlns:a16="http://schemas.microsoft.com/office/drawing/2014/main" id="{69EBC1F7-632D-475B-9837-CF217C54C568}"/>
                  </a:ext>
                </a:extLst>
              </p:cNvPr>
              <p:cNvSpPr/>
              <p:nvPr/>
            </p:nvSpPr>
            <p:spPr>
              <a:xfrm rot="5400000">
                <a:off x="7037906" y="3589282"/>
                <a:ext cx="114300" cy="98534"/>
              </a:xfrm>
              <a:prstGeom prst="triangl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29941AA-6515-4043-BB19-354F9670064F}"/>
                </a:ext>
              </a:extLst>
            </p:cNvPr>
            <p:cNvSpPr/>
            <p:nvPr/>
          </p:nvSpPr>
          <p:spPr bwMode="auto">
            <a:xfrm>
              <a:off x="2257883" y="1448986"/>
              <a:ext cx="354658" cy="312462"/>
            </a:xfrm>
            <a:custGeom>
              <a:avLst/>
              <a:gdLst>
                <a:gd name="T0" fmla="*/ 0 w 6165"/>
                <a:gd name="T1" fmla="*/ 90 h 5440"/>
                <a:gd name="T2" fmla="*/ 363 w 6165"/>
                <a:gd name="T3" fmla="*/ 4624 h 5440"/>
                <a:gd name="T4" fmla="*/ 907 w 6165"/>
                <a:gd name="T5" fmla="*/ 4624 h 5440"/>
                <a:gd name="T6" fmla="*/ 2901 w 6165"/>
                <a:gd name="T7" fmla="*/ 90 h 5440"/>
                <a:gd name="T8" fmla="*/ 861 w 6165"/>
                <a:gd name="T9" fmla="*/ 4080 h 5440"/>
                <a:gd name="T10" fmla="*/ 363 w 6165"/>
                <a:gd name="T11" fmla="*/ 3581 h 5440"/>
                <a:gd name="T12" fmla="*/ 907 w 6165"/>
                <a:gd name="T13" fmla="*/ 3581 h 5440"/>
                <a:gd name="T14" fmla="*/ 861 w 6165"/>
                <a:gd name="T15" fmla="*/ 3082 h 5440"/>
                <a:gd name="T16" fmla="*/ 363 w 6165"/>
                <a:gd name="T17" fmla="*/ 2584 h 5440"/>
                <a:gd name="T18" fmla="*/ 907 w 6165"/>
                <a:gd name="T19" fmla="*/ 2584 h 5440"/>
                <a:gd name="T20" fmla="*/ 861 w 6165"/>
                <a:gd name="T21" fmla="*/ 2085 h 5440"/>
                <a:gd name="T22" fmla="*/ 363 w 6165"/>
                <a:gd name="T23" fmla="*/ 1586 h 5440"/>
                <a:gd name="T24" fmla="*/ 907 w 6165"/>
                <a:gd name="T25" fmla="*/ 1586 h 5440"/>
                <a:gd name="T26" fmla="*/ 861 w 6165"/>
                <a:gd name="T27" fmla="*/ 1088 h 5440"/>
                <a:gd name="T28" fmla="*/ 363 w 6165"/>
                <a:gd name="T29" fmla="*/ 589 h 5440"/>
                <a:gd name="T30" fmla="*/ 907 w 6165"/>
                <a:gd name="T31" fmla="*/ 589 h 5440"/>
                <a:gd name="T32" fmla="*/ 1677 w 6165"/>
                <a:gd name="T33" fmla="*/ 4080 h 5440"/>
                <a:gd name="T34" fmla="*/ 1179 w 6165"/>
                <a:gd name="T35" fmla="*/ 3581 h 5440"/>
                <a:gd name="T36" fmla="*/ 1723 w 6165"/>
                <a:gd name="T37" fmla="*/ 3581 h 5440"/>
                <a:gd name="T38" fmla="*/ 1677 w 6165"/>
                <a:gd name="T39" fmla="*/ 3082 h 5440"/>
                <a:gd name="T40" fmla="*/ 1179 w 6165"/>
                <a:gd name="T41" fmla="*/ 2584 h 5440"/>
                <a:gd name="T42" fmla="*/ 1723 w 6165"/>
                <a:gd name="T43" fmla="*/ 2584 h 5440"/>
                <a:gd name="T44" fmla="*/ 1677 w 6165"/>
                <a:gd name="T45" fmla="*/ 2085 h 5440"/>
                <a:gd name="T46" fmla="*/ 1179 w 6165"/>
                <a:gd name="T47" fmla="*/ 1586 h 5440"/>
                <a:gd name="T48" fmla="*/ 1723 w 6165"/>
                <a:gd name="T49" fmla="*/ 1586 h 5440"/>
                <a:gd name="T50" fmla="*/ 1677 w 6165"/>
                <a:gd name="T51" fmla="*/ 1088 h 5440"/>
                <a:gd name="T52" fmla="*/ 1179 w 6165"/>
                <a:gd name="T53" fmla="*/ 589 h 5440"/>
                <a:gd name="T54" fmla="*/ 1723 w 6165"/>
                <a:gd name="T55" fmla="*/ 589 h 5440"/>
                <a:gd name="T56" fmla="*/ 2493 w 6165"/>
                <a:gd name="T57" fmla="*/ 4080 h 5440"/>
                <a:gd name="T58" fmla="*/ 1995 w 6165"/>
                <a:gd name="T59" fmla="*/ 3581 h 5440"/>
                <a:gd name="T60" fmla="*/ 2539 w 6165"/>
                <a:gd name="T61" fmla="*/ 3581 h 5440"/>
                <a:gd name="T62" fmla="*/ 2493 w 6165"/>
                <a:gd name="T63" fmla="*/ 3082 h 5440"/>
                <a:gd name="T64" fmla="*/ 1995 w 6165"/>
                <a:gd name="T65" fmla="*/ 2584 h 5440"/>
                <a:gd name="T66" fmla="*/ 2539 w 6165"/>
                <a:gd name="T67" fmla="*/ 2584 h 5440"/>
                <a:gd name="T68" fmla="*/ 2493 w 6165"/>
                <a:gd name="T69" fmla="*/ 2085 h 5440"/>
                <a:gd name="T70" fmla="*/ 1995 w 6165"/>
                <a:gd name="T71" fmla="*/ 1586 h 5440"/>
                <a:gd name="T72" fmla="*/ 2539 w 6165"/>
                <a:gd name="T73" fmla="*/ 1586 h 5440"/>
                <a:gd name="T74" fmla="*/ 2493 w 6165"/>
                <a:gd name="T75" fmla="*/ 1088 h 5440"/>
                <a:gd name="T76" fmla="*/ 1995 w 6165"/>
                <a:gd name="T77" fmla="*/ 589 h 5440"/>
                <a:gd name="T78" fmla="*/ 2539 w 6165"/>
                <a:gd name="T79" fmla="*/ 589 h 5440"/>
                <a:gd name="T80" fmla="*/ 3379 w 6165"/>
                <a:gd name="T81" fmla="*/ 1845 h 5440"/>
                <a:gd name="T82" fmla="*/ 3627 w 6165"/>
                <a:gd name="T83" fmla="*/ 5440 h 5440"/>
                <a:gd name="T84" fmla="*/ 4080 w 6165"/>
                <a:gd name="T85" fmla="*/ 4624 h 5440"/>
                <a:gd name="T86" fmla="*/ 6165 w 6165"/>
                <a:gd name="T87" fmla="*/ 5440 h 5440"/>
                <a:gd name="T88" fmla="*/ 4171 w 6165"/>
                <a:gd name="T89" fmla="*/ 4216 h 5440"/>
                <a:gd name="T90" fmla="*/ 3627 w 6165"/>
                <a:gd name="T91" fmla="*/ 4216 h 5440"/>
                <a:gd name="T92" fmla="*/ 4125 w 6165"/>
                <a:gd name="T93" fmla="*/ 3717 h 5440"/>
                <a:gd name="T94" fmla="*/ 4171 w 6165"/>
                <a:gd name="T95" fmla="*/ 3218 h 5440"/>
                <a:gd name="T96" fmla="*/ 3627 w 6165"/>
                <a:gd name="T97" fmla="*/ 3218 h 5440"/>
                <a:gd name="T98" fmla="*/ 4125 w 6165"/>
                <a:gd name="T99" fmla="*/ 2720 h 5440"/>
                <a:gd name="T100" fmla="*/ 4987 w 6165"/>
                <a:gd name="T101" fmla="*/ 4216 h 5440"/>
                <a:gd name="T102" fmla="*/ 4443 w 6165"/>
                <a:gd name="T103" fmla="*/ 4216 h 5440"/>
                <a:gd name="T104" fmla="*/ 4941 w 6165"/>
                <a:gd name="T105" fmla="*/ 3717 h 5440"/>
                <a:gd name="T106" fmla="*/ 4987 w 6165"/>
                <a:gd name="T107" fmla="*/ 3218 h 5440"/>
                <a:gd name="T108" fmla="*/ 4443 w 6165"/>
                <a:gd name="T109" fmla="*/ 3218 h 5440"/>
                <a:gd name="T110" fmla="*/ 4941 w 6165"/>
                <a:gd name="T111" fmla="*/ 2720 h 5440"/>
                <a:gd name="T112" fmla="*/ 5803 w 6165"/>
                <a:gd name="T113" fmla="*/ 4216 h 5440"/>
                <a:gd name="T114" fmla="*/ 5259 w 6165"/>
                <a:gd name="T115" fmla="*/ 4216 h 5440"/>
                <a:gd name="T116" fmla="*/ 5757 w 6165"/>
                <a:gd name="T117" fmla="*/ 3717 h 5440"/>
                <a:gd name="T118" fmla="*/ 5803 w 6165"/>
                <a:gd name="T119" fmla="*/ 3218 h 5440"/>
                <a:gd name="T120" fmla="*/ 5259 w 6165"/>
                <a:gd name="T121" fmla="*/ 3218 h 5440"/>
                <a:gd name="T122" fmla="*/ 5757 w 6165"/>
                <a:gd name="T123" fmla="*/ 2720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5" h="5440">
                  <a:moveTo>
                    <a:pt x="2811" y="0"/>
                  </a:moveTo>
                  <a:lnTo>
                    <a:pt x="91" y="0"/>
                  </a:lnTo>
                  <a:cubicBezTo>
                    <a:pt x="41" y="0"/>
                    <a:pt x="0" y="40"/>
                    <a:pt x="0" y="90"/>
                  </a:cubicBezTo>
                  <a:lnTo>
                    <a:pt x="0" y="5440"/>
                  </a:lnTo>
                  <a:lnTo>
                    <a:pt x="363" y="5440"/>
                  </a:lnTo>
                  <a:lnTo>
                    <a:pt x="363" y="4624"/>
                  </a:lnTo>
                  <a:cubicBezTo>
                    <a:pt x="363" y="4574"/>
                    <a:pt x="403" y="4533"/>
                    <a:pt x="453" y="4533"/>
                  </a:cubicBezTo>
                  <a:lnTo>
                    <a:pt x="816" y="4533"/>
                  </a:lnTo>
                  <a:cubicBezTo>
                    <a:pt x="866" y="4533"/>
                    <a:pt x="907" y="4574"/>
                    <a:pt x="907" y="4624"/>
                  </a:cubicBezTo>
                  <a:lnTo>
                    <a:pt x="907" y="5440"/>
                  </a:lnTo>
                  <a:lnTo>
                    <a:pt x="2901" y="5440"/>
                  </a:lnTo>
                  <a:lnTo>
                    <a:pt x="2901" y="90"/>
                  </a:lnTo>
                  <a:cubicBezTo>
                    <a:pt x="2901" y="40"/>
                    <a:pt x="2861" y="0"/>
                    <a:pt x="2811" y="0"/>
                  </a:cubicBezTo>
                  <a:close/>
                  <a:moveTo>
                    <a:pt x="907" y="4034"/>
                  </a:moveTo>
                  <a:cubicBezTo>
                    <a:pt x="907" y="4059"/>
                    <a:pt x="886" y="4080"/>
                    <a:pt x="861" y="4080"/>
                  </a:cubicBezTo>
                  <a:lnTo>
                    <a:pt x="408" y="4080"/>
                  </a:lnTo>
                  <a:cubicBezTo>
                    <a:pt x="383" y="4080"/>
                    <a:pt x="363" y="4059"/>
                    <a:pt x="363" y="4034"/>
                  </a:cubicBezTo>
                  <a:lnTo>
                    <a:pt x="363" y="3581"/>
                  </a:lnTo>
                  <a:cubicBezTo>
                    <a:pt x="363" y="3556"/>
                    <a:pt x="383" y="3536"/>
                    <a:pt x="408" y="3536"/>
                  </a:cubicBezTo>
                  <a:lnTo>
                    <a:pt x="861" y="3536"/>
                  </a:lnTo>
                  <a:cubicBezTo>
                    <a:pt x="886" y="3536"/>
                    <a:pt x="907" y="3556"/>
                    <a:pt x="907" y="3581"/>
                  </a:cubicBezTo>
                  <a:lnTo>
                    <a:pt x="907" y="4034"/>
                  </a:lnTo>
                  <a:close/>
                  <a:moveTo>
                    <a:pt x="907" y="3037"/>
                  </a:moveTo>
                  <a:cubicBezTo>
                    <a:pt x="907" y="3062"/>
                    <a:pt x="886" y="3082"/>
                    <a:pt x="861" y="3082"/>
                  </a:cubicBezTo>
                  <a:lnTo>
                    <a:pt x="408" y="3082"/>
                  </a:lnTo>
                  <a:cubicBezTo>
                    <a:pt x="383" y="3082"/>
                    <a:pt x="363" y="3062"/>
                    <a:pt x="363" y="3037"/>
                  </a:cubicBezTo>
                  <a:lnTo>
                    <a:pt x="363" y="2584"/>
                  </a:lnTo>
                  <a:cubicBezTo>
                    <a:pt x="363" y="2559"/>
                    <a:pt x="383" y="2538"/>
                    <a:pt x="408" y="2538"/>
                  </a:cubicBezTo>
                  <a:lnTo>
                    <a:pt x="861" y="2538"/>
                  </a:lnTo>
                  <a:cubicBezTo>
                    <a:pt x="886" y="2538"/>
                    <a:pt x="907" y="2559"/>
                    <a:pt x="907" y="2584"/>
                  </a:cubicBezTo>
                  <a:lnTo>
                    <a:pt x="907" y="3037"/>
                  </a:lnTo>
                  <a:close/>
                  <a:moveTo>
                    <a:pt x="907" y="2040"/>
                  </a:moveTo>
                  <a:cubicBezTo>
                    <a:pt x="907" y="2065"/>
                    <a:pt x="886" y="2085"/>
                    <a:pt x="861" y="2085"/>
                  </a:cubicBezTo>
                  <a:lnTo>
                    <a:pt x="408" y="2085"/>
                  </a:lnTo>
                  <a:cubicBezTo>
                    <a:pt x="383" y="2085"/>
                    <a:pt x="363" y="2065"/>
                    <a:pt x="363" y="2040"/>
                  </a:cubicBezTo>
                  <a:lnTo>
                    <a:pt x="363" y="1586"/>
                  </a:lnTo>
                  <a:cubicBezTo>
                    <a:pt x="363" y="1561"/>
                    <a:pt x="383" y="1541"/>
                    <a:pt x="408" y="1541"/>
                  </a:cubicBezTo>
                  <a:lnTo>
                    <a:pt x="861" y="1541"/>
                  </a:lnTo>
                  <a:cubicBezTo>
                    <a:pt x="886" y="1541"/>
                    <a:pt x="907" y="1561"/>
                    <a:pt x="907" y="1586"/>
                  </a:cubicBezTo>
                  <a:lnTo>
                    <a:pt x="907" y="2040"/>
                  </a:lnTo>
                  <a:close/>
                  <a:moveTo>
                    <a:pt x="907" y="1042"/>
                  </a:moveTo>
                  <a:cubicBezTo>
                    <a:pt x="907" y="1067"/>
                    <a:pt x="886" y="1088"/>
                    <a:pt x="861" y="1088"/>
                  </a:cubicBezTo>
                  <a:lnTo>
                    <a:pt x="408" y="1088"/>
                  </a:lnTo>
                  <a:cubicBezTo>
                    <a:pt x="383" y="1088"/>
                    <a:pt x="363" y="1067"/>
                    <a:pt x="363" y="1042"/>
                  </a:cubicBezTo>
                  <a:lnTo>
                    <a:pt x="363" y="589"/>
                  </a:lnTo>
                  <a:cubicBezTo>
                    <a:pt x="363" y="564"/>
                    <a:pt x="383" y="544"/>
                    <a:pt x="408" y="544"/>
                  </a:cubicBezTo>
                  <a:lnTo>
                    <a:pt x="861" y="544"/>
                  </a:lnTo>
                  <a:cubicBezTo>
                    <a:pt x="886" y="544"/>
                    <a:pt x="907" y="564"/>
                    <a:pt x="907" y="589"/>
                  </a:cubicBezTo>
                  <a:lnTo>
                    <a:pt x="907" y="1042"/>
                  </a:lnTo>
                  <a:close/>
                  <a:moveTo>
                    <a:pt x="1723" y="4034"/>
                  </a:moveTo>
                  <a:cubicBezTo>
                    <a:pt x="1723" y="4059"/>
                    <a:pt x="1702" y="4080"/>
                    <a:pt x="1677" y="4080"/>
                  </a:cubicBezTo>
                  <a:lnTo>
                    <a:pt x="1224" y="4080"/>
                  </a:lnTo>
                  <a:cubicBezTo>
                    <a:pt x="1199" y="4080"/>
                    <a:pt x="1179" y="4059"/>
                    <a:pt x="1179" y="4034"/>
                  </a:cubicBezTo>
                  <a:lnTo>
                    <a:pt x="1179" y="3581"/>
                  </a:lnTo>
                  <a:cubicBezTo>
                    <a:pt x="1179" y="3556"/>
                    <a:pt x="1199" y="3536"/>
                    <a:pt x="1224" y="3536"/>
                  </a:cubicBezTo>
                  <a:lnTo>
                    <a:pt x="1677" y="3536"/>
                  </a:lnTo>
                  <a:cubicBezTo>
                    <a:pt x="1702" y="3536"/>
                    <a:pt x="1723" y="3556"/>
                    <a:pt x="1723" y="3581"/>
                  </a:cubicBezTo>
                  <a:lnTo>
                    <a:pt x="1723" y="4034"/>
                  </a:lnTo>
                  <a:close/>
                  <a:moveTo>
                    <a:pt x="1723" y="3037"/>
                  </a:moveTo>
                  <a:cubicBezTo>
                    <a:pt x="1723" y="3062"/>
                    <a:pt x="1702" y="3082"/>
                    <a:pt x="1677" y="3082"/>
                  </a:cubicBezTo>
                  <a:lnTo>
                    <a:pt x="1224" y="3082"/>
                  </a:lnTo>
                  <a:cubicBezTo>
                    <a:pt x="1199" y="3082"/>
                    <a:pt x="1179" y="3062"/>
                    <a:pt x="1179" y="3037"/>
                  </a:cubicBezTo>
                  <a:lnTo>
                    <a:pt x="1179" y="2584"/>
                  </a:lnTo>
                  <a:cubicBezTo>
                    <a:pt x="1179" y="2559"/>
                    <a:pt x="1199" y="2538"/>
                    <a:pt x="1224" y="2538"/>
                  </a:cubicBezTo>
                  <a:lnTo>
                    <a:pt x="1677" y="2538"/>
                  </a:lnTo>
                  <a:cubicBezTo>
                    <a:pt x="1702" y="2538"/>
                    <a:pt x="1723" y="2559"/>
                    <a:pt x="1723" y="2584"/>
                  </a:cubicBezTo>
                  <a:lnTo>
                    <a:pt x="1723" y="3037"/>
                  </a:lnTo>
                  <a:close/>
                  <a:moveTo>
                    <a:pt x="1723" y="2040"/>
                  </a:moveTo>
                  <a:cubicBezTo>
                    <a:pt x="1723" y="2065"/>
                    <a:pt x="1702" y="2085"/>
                    <a:pt x="1677" y="2085"/>
                  </a:cubicBezTo>
                  <a:lnTo>
                    <a:pt x="1224" y="2085"/>
                  </a:lnTo>
                  <a:cubicBezTo>
                    <a:pt x="1199" y="2085"/>
                    <a:pt x="1179" y="2065"/>
                    <a:pt x="1179" y="2040"/>
                  </a:cubicBezTo>
                  <a:lnTo>
                    <a:pt x="1179" y="1586"/>
                  </a:lnTo>
                  <a:cubicBezTo>
                    <a:pt x="1179" y="1561"/>
                    <a:pt x="1199" y="1541"/>
                    <a:pt x="1224" y="1541"/>
                  </a:cubicBezTo>
                  <a:lnTo>
                    <a:pt x="1677" y="1541"/>
                  </a:lnTo>
                  <a:cubicBezTo>
                    <a:pt x="1702" y="1541"/>
                    <a:pt x="1723" y="1561"/>
                    <a:pt x="1723" y="1586"/>
                  </a:cubicBezTo>
                  <a:lnTo>
                    <a:pt x="1723" y="2040"/>
                  </a:lnTo>
                  <a:close/>
                  <a:moveTo>
                    <a:pt x="1723" y="1042"/>
                  </a:moveTo>
                  <a:cubicBezTo>
                    <a:pt x="1723" y="1067"/>
                    <a:pt x="1702" y="1088"/>
                    <a:pt x="1677" y="1088"/>
                  </a:cubicBezTo>
                  <a:lnTo>
                    <a:pt x="1224" y="1088"/>
                  </a:lnTo>
                  <a:cubicBezTo>
                    <a:pt x="1199" y="1088"/>
                    <a:pt x="1179" y="1067"/>
                    <a:pt x="1179" y="1042"/>
                  </a:cubicBezTo>
                  <a:lnTo>
                    <a:pt x="1179" y="589"/>
                  </a:lnTo>
                  <a:cubicBezTo>
                    <a:pt x="1179" y="564"/>
                    <a:pt x="1199" y="544"/>
                    <a:pt x="1224" y="544"/>
                  </a:cubicBezTo>
                  <a:lnTo>
                    <a:pt x="1677" y="544"/>
                  </a:lnTo>
                  <a:cubicBezTo>
                    <a:pt x="1702" y="544"/>
                    <a:pt x="1723" y="564"/>
                    <a:pt x="1723" y="589"/>
                  </a:cubicBezTo>
                  <a:lnTo>
                    <a:pt x="1723" y="1042"/>
                  </a:lnTo>
                  <a:close/>
                  <a:moveTo>
                    <a:pt x="2539" y="4034"/>
                  </a:moveTo>
                  <a:cubicBezTo>
                    <a:pt x="2539" y="4059"/>
                    <a:pt x="2518" y="4080"/>
                    <a:pt x="2493" y="4080"/>
                  </a:cubicBezTo>
                  <a:lnTo>
                    <a:pt x="2040" y="4080"/>
                  </a:lnTo>
                  <a:cubicBezTo>
                    <a:pt x="2015" y="4080"/>
                    <a:pt x="1995" y="4059"/>
                    <a:pt x="1995" y="4034"/>
                  </a:cubicBezTo>
                  <a:lnTo>
                    <a:pt x="1995" y="3581"/>
                  </a:lnTo>
                  <a:cubicBezTo>
                    <a:pt x="1995" y="3556"/>
                    <a:pt x="2015" y="3536"/>
                    <a:pt x="2040" y="3536"/>
                  </a:cubicBezTo>
                  <a:lnTo>
                    <a:pt x="2493" y="3536"/>
                  </a:lnTo>
                  <a:cubicBezTo>
                    <a:pt x="2518" y="3536"/>
                    <a:pt x="2539" y="3556"/>
                    <a:pt x="2539" y="3581"/>
                  </a:cubicBezTo>
                  <a:lnTo>
                    <a:pt x="2539" y="4034"/>
                  </a:lnTo>
                  <a:close/>
                  <a:moveTo>
                    <a:pt x="2539" y="3037"/>
                  </a:moveTo>
                  <a:cubicBezTo>
                    <a:pt x="2539" y="3062"/>
                    <a:pt x="2518" y="3082"/>
                    <a:pt x="2493" y="3082"/>
                  </a:cubicBezTo>
                  <a:lnTo>
                    <a:pt x="2040" y="3082"/>
                  </a:lnTo>
                  <a:cubicBezTo>
                    <a:pt x="2015" y="3082"/>
                    <a:pt x="1995" y="3062"/>
                    <a:pt x="1995" y="3037"/>
                  </a:cubicBezTo>
                  <a:lnTo>
                    <a:pt x="1995" y="2584"/>
                  </a:lnTo>
                  <a:cubicBezTo>
                    <a:pt x="1995" y="2559"/>
                    <a:pt x="2015" y="2538"/>
                    <a:pt x="2040" y="2538"/>
                  </a:cubicBezTo>
                  <a:lnTo>
                    <a:pt x="2493" y="2538"/>
                  </a:lnTo>
                  <a:cubicBezTo>
                    <a:pt x="2518" y="2538"/>
                    <a:pt x="2539" y="2559"/>
                    <a:pt x="2539" y="2584"/>
                  </a:cubicBezTo>
                  <a:lnTo>
                    <a:pt x="2539" y="3037"/>
                  </a:lnTo>
                  <a:close/>
                  <a:moveTo>
                    <a:pt x="2539" y="2040"/>
                  </a:moveTo>
                  <a:cubicBezTo>
                    <a:pt x="2539" y="2065"/>
                    <a:pt x="2518" y="2085"/>
                    <a:pt x="2493" y="2085"/>
                  </a:cubicBezTo>
                  <a:lnTo>
                    <a:pt x="2040" y="2085"/>
                  </a:lnTo>
                  <a:cubicBezTo>
                    <a:pt x="2015" y="2085"/>
                    <a:pt x="1995" y="2065"/>
                    <a:pt x="1995" y="2040"/>
                  </a:cubicBezTo>
                  <a:lnTo>
                    <a:pt x="1995" y="1586"/>
                  </a:lnTo>
                  <a:cubicBezTo>
                    <a:pt x="1995" y="1561"/>
                    <a:pt x="2015" y="1541"/>
                    <a:pt x="2040" y="1541"/>
                  </a:cubicBezTo>
                  <a:lnTo>
                    <a:pt x="2493" y="1541"/>
                  </a:lnTo>
                  <a:cubicBezTo>
                    <a:pt x="2518" y="1541"/>
                    <a:pt x="2539" y="1561"/>
                    <a:pt x="2539" y="1586"/>
                  </a:cubicBezTo>
                  <a:lnTo>
                    <a:pt x="2539" y="2040"/>
                  </a:lnTo>
                  <a:close/>
                  <a:moveTo>
                    <a:pt x="2539" y="1042"/>
                  </a:moveTo>
                  <a:cubicBezTo>
                    <a:pt x="2539" y="1067"/>
                    <a:pt x="2518" y="1088"/>
                    <a:pt x="2493" y="1088"/>
                  </a:cubicBezTo>
                  <a:lnTo>
                    <a:pt x="2040" y="1088"/>
                  </a:lnTo>
                  <a:cubicBezTo>
                    <a:pt x="2015" y="1088"/>
                    <a:pt x="1995" y="1067"/>
                    <a:pt x="1995" y="1042"/>
                  </a:cubicBezTo>
                  <a:lnTo>
                    <a:pt x="1995" y="589"/>
                  </a:lnTo>
                  <a:cubicBezTo>
                    <a:pt x="1995" y="564"/>
                    <a:pt x="2015" y="544"/>
                    <a:pt x="2040" y="544"/>
                  </a:cubicBezTo>
                  <a:lnTo>
                    <a:pt x="2493" y="544"/>
                  </a:lnTo>
                  <a:cubicBezTo>
                    <a:pt x="2518" y="544"/>
                    <a:pt x="2539" y="564"/>
                    <a:pt x="2539" y="589"/>
                  </a:cubicBezTo>
                  <a:lnTo>
                    <a:pt x="2539" y="1042"/>
                  </a:lnTo>
                  <a:close/>
                  <a:moveTo>
                    <a:pt x="6099" y="2610"/>
                  </a:moveTo>
                  <a:lnTo>
                    <a:pt x="3379" y="1845"/>
                  </a:lnTo>
                  <a:cubicBezTo>
                    <a:pt x="3321" y="1829"/>
                    <a:pt x="3264" y="1873"/>
                    <a:pt x="3264" y="1933"/>
                  </a:cubicBezTo>
                  <a:lnTo>
                    <a:pt x="3264" y="5440"/>
                  </a:lnTo>
                  <a:lnTo>
                    <a:pt x="3627" y="5440"/>
                  </a:lnTo>
                  <a:lnTo>
                    <a:pt x="3627" y="4714"/>
                  </a:lnTo>
                  <a:cubicBezTo>
                    <a:pt x="3627" y="4664"/>
                    <a:pt x="3667" y="4624"/>
                    <a:pt x="3717" y="4624"/>
                  </a:cubicBezTo>
                  <a:lnTo>
                    <a:pt x="4080" y="4624"/>
                  </a:lnTo>
                  <a:cubicBezTo>
                    <a:pt x="4130" y="4624"/>
                    <a:pt x="4171" y="4664"/>
                    <a:pt x="4171" y="4714"/>
                  </a:cubicBezTo>
                  <a:lnTo>
                    <a:pt x="4171" y="5440"/>
                  </a:lnTo>
                  <a:lnTo>
                    <a:pt x="6165" y="5440"/>
                  </a:lnTo>
                  <a:lnTo>
                    <a:pt x="6165" y="2698"/>
                  </a:lnTo>
                  <a:cubicBezTo>
                    <a:pt x="6165" y="2657"/>
                    <a:pt x="6138" y="2621"/>
                    <a:pt x="6099" y="2610"/>
                  </a:cubicBezTo>
                  <a:close/>
                  <a:moveTo>
                    <a:pt x="4171" y="4216"/>
                  </a:moveTo>
                  <a:cubicBezTo>
                    <a:pt x="4171" y="4241"/>
                    <a:pt x="4150" y="4261"/>
                    <a:pt x="4125" y="4261"/>
                  </a:cubicBezTo>
                  <a:lnTo>
                    <a:pt x="3672" y="4261"/>
                  </a:lnTo>
                  <a:cubicBezTo>
                    <a:pt x="3647" y="4261"/>
                    <a:pt x="3627" y="4241"/>
                    <a:pt x="3627" y="4216"/>
                  </a:cubicBezTo>
                  <a:lnTo>
                    <a:pt x="3627" y="3762"/>
                  </a:lnTo>
                  <a:cubicBezTo>
                    <a:pt x="3627" y="3737"/>
                    <a:pt x="3647" y="3717"/>
                    <a:pt x="3672" y="3717"/>
                  </a:cubicBezTo>
                  <a:lnTo>
                    <a:pt x="4125" y="3717"/>
                  </a:lnTo>
                  <a:cubicBezTo>
                    <a:pt x="4150" y="3717"/>
                    <a:pt x="4171" y="3737"/>
                    <a:pt x="4171" y="3762"/>
                  </a:cubicBezTo>
                  <a:lnTo>
                    <a:pt x="4171" y="4216"/>
                  </a:lnTo>
                  <a:close/>
                  <a:moveTo>
                    <a:pt x="4171" y="3218"/>
                  </a:moveTo>
                  <a:cubicBezTo>
                    <a:pt x="4171" y="3243"/>
                    <a:pt x="4150" y="3264"/>
                    <a:pt x="4125" y="3264"/>
                  </a:cubicBezTo>
                  <a:lnTo>
                    <a:pt x="3672" y="3264"/>
                  </a:lnTo>
                  <a:cubicBezTo>
                    <a:pt x="3647" y="3264"/>
                    <a:pt x="3627" y="3243"/>
                    <a:pt x="3627" y="3218"/>
                  </a:cubicBezTo>
                  <a:lnTo>
                    <a:pt x="3627" y="2765"/>
                  </a:lnTo>
                  <a:cubicBezTo>
                    <a:pt x="3627" y="2740"/>
                    <a:pt x="3647" y="2720"/>
                    <a:pt x="3672" y="2720"/>
                  </a:cubicBezTo>
                  <a:lnTo>
                    <a:pt x="4125" y="2720"/>
                  </a:lnTo>
                  <a:cubicBezTo>
                    <a:pt x="4150" y="2720"/>
                    <a:pt x="4171" y="2740"/>
                    <a:pt x="4171" y="2765"/>
                  </a:cubicBezTo>
                  <a:lnTo>
                    <a:pt x="4171" y="3218"/>
                  </a:lnTo>
                  <a:close/>
                  <a:moveTo>
                    <a:pt x="4987" y="4216"/>
                  </a:moveTo>
                  <a:cubicBezTo>
                    <a:pt x="4987" y="4241"/>
                    <a:pt x="4966" y="4261"/>
                    <a:pt x="4941" y="4261"/>
                  </a:cubicBezTo>
                  <a:lnTo>
                    <a:pt x="4488" y="4261"/>
                  </a:lnTo>
                  <a:cubicBezTo>
                    <a:pt x="4463" y="4261"/>
                    <a:pt x="4443" y="4241"/>
                    <a:pt x="4443" y="4216"/>
                  </a:cubicBezTo>
                  <a:lnTo>
                    <a:pt x="4443" y="3762"/>
                  </a:lnTo>
                  <a:cubicBezTo>
                    <a:pt x="4443" y="3737"/>
                    <a:pt x="4463" y="3717"/>
                    <a:pt x="4488" y="3717"/>
                  </a:cubicBezTo>
                  <a:lnTo>
                    <a:pt x="4941" y="3717"/>
                  </a:lnTo>
                  <a:cubicBezTo>
                    <a:pt x="4966" y="3717"/>
                    <a:pt x="4987" y="3737"/>
                    <a:pt x="4987" y="3762"/>
                  </a:cubicBezTo>
                  <a:lnTo>
                    <a:pt x="4987" y="4216"/>
                  </a:lnTo>
                  <a:close/>
                  <a:moveTo>
                    <a:pt x="4987" y="3218"/>
                  </a:moveTo>
                  <a:cubicBezTo>
                    <a:pt x="4987" y="3243"/>
                    <a:pt x="4966" y="3264"/>
                    <a:pt x="4941" y="3264"/>
                  </a:cubicBezTo>
                  <a:lnTo>
                    <a:pt x="4488" y="3264"/>
                  </a:lnTo>
                  <a:cubicBezTo>
                    <a:pt x="4463" y="3264"/>
                    <a:pt x="4443" y="3243"/>
                    <a:pt x="4443" y="3218"/>
                  </a:cubicBezTo>
                  <a:lnTo>
                    <a:pt x="4443" y="2765"/>
                  </a:lnTo>
                  <a:cubicBezTo>
                    <a:pt x="4443" y="2740"/>
                    <a:pt x="4463" y="2720"/>
                    <a:pt x="4488" y="2720"/>
                  </a:cubicBezTo>
                  <a:lnTo>
                    <a:pt x="4941" y="2720"/>
                  </a:lnTo>
                  <a:cubicBezTo>
                    <a:pt x="4966" y="2720"/>
                    <a:pt x="4987" y="2740"/>
                    <a:pt x="4987" y="2765"/>
                  </a:cubicBezTo>
                  <a:lnTo>
                    <a:pt x="4987" y="3218"/>
                  </a:lnTo>
                  <a:close/>
                  <a:moveTo>
                    <a:pt x="5803" y="4216"/>
                  </a:moveTo>
                  <a:cubicBezTo>
                    <a:pt x="5803" y="4241"/>
                    <a:pt x="5782" y="4261"/>
                    <a:pt x="5757" y="4261"/>
                  </a:cubicBezTo>
                  <a:lnTo>
                    <a:pt x="5304" y="4261"/>
                  </a:lnTo>
                  <a:cubicBezTo>
                    <a:pt x="5279" y="4261"/>
                    <a:pt x="5259" y="4241"/>
                    <a:pt x="5259" y="4216"/>
                  </a:cubicBezTo>
                  <a:lnTo>
                    <a:pt x="5259" y="3762"/>
                  </a:lnTo>
                  <a:cubicBezTo>
                    <a:pt x="5259" y="3737"/>
                    <a:pt x="5279" y="3717"/>
                    <a:pt x="5304" y="3717"/>
                  </a:cubicBezTo>
                  <a:lnTo>
                    <a:pt x="5757" y="3717"/>
                  </a:lnTo>
                  <a:cubicBezTo>
                    <a:pt x="5782" y="3717"/>
                    <a:pt x="5803" y="3737"/>
                    <a:pt x="5803" y="3762"/>
                  </a:cubicBezTo>
                  <a:lnTo>
                    <a:pt x="5803" y="4216"/>
                  </a:lnTo>
                  <a:close/>
                  <a:moveTo>
                    <a:pt x="5803" y="3218"/>
                  </a:moveTo>
                  <a:cubicBezTo>
                    <a:pt x="5803" y="3243"/>
                    <a:pt x="5782" y="3264"/>
                    <a:pt x="5757" y="3264"/>
                  </a:cubicBezTo>
                  <a:lnTo>
                    <a:pt x="5304" y="3264"/>
                  </a:lnTo>
                  <a:cubicBezTo>
                    <a:pt x="5279" y="3264"/>
                    <a:pt x="5259" y="3243"/>
                    <a:pt x="5259" y="3218"/>
                  </a:cubicBezTo>
                  <a:lnTo>
                    <a:pt x="5259" y="2765"/>
                  </a:lnTo>
                  <a:cubicBezTo>
                    <a:pt x="5259" y="2740"/>
                    <a:pt x="5279" y="2720"/>
                    <a:pt x="5304" y="2720"/>
                  </a:cubicBezTo>
                  <a:lnTo>
                    <a:pt x="5757" y="2720"/>
                  </a:lnTo>
                  <a:cubicBezTo>
                    <a:pt x="5782" y="2720"/>
                    <a:pt x="5803" y="2740"/>
                    <a:pt x="5803" y="2765"/>
                  </a:cubicBezTo>
                  <a:lnTo>
                    <a:pt x="5803" y="32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E5D0B7E-28E8-45CF-9493-BFD4BE1F948C}"/>
                </a:ext>
              </a:extLst>
            </p:cNvPr>
            <p:cNvSpPr/>
            <p:nvPr/>
          </p:nvSpPr>
          <p:spPr bwMode="auto">
            <a:xfrm>
              <a:off x="5915127" y="1448986"/>
              <a:ext cx="354658" cy="312462"/>
            </a:xfrm>
            <a:custGeom>
              <a:avLst/>
              <a:gdLst>
                <a:gd name="T0" fmla="*/ 0 w 6165"/>
                <a:gd name="T1" fmla="*/ 90 h 5440"/>
                <a:gd name="T2" fmla="*/ 363 w 6165"/>
                <a:gd name="T3" fmla="*/ 4624 h 5440"/>
                <a:gd name="T4" fmla="*/ 907 w 6165"/>
                <a:gd name="T5" fmla="*/ 4624 h 5440"/>
                <a:gd name="T6" fmla="*/ 2901 w 6165"/>
                <a:gd name="T7" fmla="*/ 90 h 5440"/>
                <a:gd name="T8" fmla="*/ 861 w 6165"/>
                <a:gd name="T9" fmla="*/ 4080 h 5440"/>
                <a:gd name="T10" fmla="*/ 363 w 6165"/>
                <a:gd name="T11" fmla="*/ 3581 h 5440"/>
                <a:gd name="T12" fmla="*/ 907 w 6165"/>
                <a:gd name="T13" fmla="*/ 3581 h 5440"/>
                <a:gd name="T14" fmla="*/ 861 w 6165"/>
                <a:gd name="T15" fmla="*/ 3082 h 5440"/>
                <a:gd name="T16" fmla="*/ 363 w 6165"/>
                <a:gd name="T17" fmla="*/ 2584 h 5440"/>
                <a:gd name="T18" fmla="*/ 907 w 6165"/>
                <a:gd name="T19" fmla="*/ 2584 h 5440"/>
                <a:gd name="T20" fmla="*/ 861 w 6165"/>
                <a:gd name="T21" fmla="*/ 2085 h 5440"/>
                <a:gd name="T22" fmla="*/ 363 w 6165"/>
                <a:gd name="T23" fmla="*/ 1586 h 5440"/>
                <a:gd name="T24" fmla="*/ 907 w 6165"/>
                <a:gd name="T25" fmla="*/ 1586 h 5440"/>
                <a:gd name="T26" fmla="*/ 861 w 6165"/>
                <a:gd name="T27" fmla="*/ 1088 h 5440"/>
                <a:gd name="T28" fmla="*/ 363 w 6165"/>
                <a:gd name="T29" fmla="*/ 589 h 5440"/>
                <a:gd name="T30" fmla="*/ 907 w 6165"/>
                <a:gd name="T31" fmla="*/ 589 h 5440"/>
                <a:gd name="T32" fmla="*/ 1677 w 6165"/>
                <a:gd name="T33" fmla="*/ 4080 h 5440"/>
                <a:gd name="T34" fmla="*/ 1179 w 6165"/>
                <a:gd name="T35" fmla="*/ 3581 h 5440"/>
                <a:gd name="T36" fmla="*/ 1723 w 6165"/>
                <a:gd name="T37" fmla="*/ 3581 h 5440"/>
                <a:gd name="T38" fmla="*/ 1677 w 6165"/>
                <a:gd name="T39" fmla="*/ 3082 h 5440"/>
                <a:gd name="T40" fmla="*/ 1179 w 6165"/>
                <a:gd name="T41" fmla="*/ 2584 h 5440"/>
                <a:gd name="T42" fmla="*/ 1723 w 6165"/>
                <a:gd name="T43" fmla="*/ 2584 h 5440"/>
                <a:gd name="T44" fmla="*/ 1677 w 6165"/>
                <a:gd name="T45" fmla="*/ 2085 h 5440"/>
                <a:gd name="T46" fmla="*/ 1179 w 6165"/>
                <a:gd name="T47" fmla="*/ 1586 h 5440"/>
                <a:gd name="T48" fmla="*/ 1723 w 6165"/>
                <a:gd name="T49" fmla="*/ 1586 h 5440"/>
                <a:gd name="T50" fmla="*/ 1677 w 6165"/>
                <a:gd name="T51" fmla="*/ 1088 h 5440"/>
                <a:gd name="T52" fmla="*/ 1179 w 6165"/>
                <a:gd name="T53" fmla="*/ 589 h 5440"/>
                <a:gd name="T54" fmla="*/ 1723 w 6165"/>
                <a:gd name="T55" fmla="*/ 589 h 5440"/>
                <a:gd name="T56" fmla="*/ 2493 w 6165"/>
                <a:gd name="T57" fmla="*/ 4080 h 5440"/>
                <a:gd name="T58" fmla="*/ 1995 w 6165"/>
                <a:gd name="T59" fmla="*/ 3581 h 5440"/>
                <a:gd name="T60" fmla="*/ 2539 w 6165"/>
                <a:gd name="T61" fmla="*/ 3581 h 5440"/>
                <a:gd name="T62" fmla="*/ 2493 w 6165"/>
                <a:gd name="T63" fmla="*/ 3082 h 5440"/>
                <a:gd name="T64" fmla="*/ 1995 w 6165"/>
                <a:gd name="T65" fmla="*/ 2584 h 5440"/>
                <a:gd name="T66" fmla="*/ 2539 w 6165"/>
                <a:gd name="T67" fmla="*/ 2584 h 5440"/>
                <a:gd name="T68" fmla="*/ 2493 w 6165"/>
                <a:gd name="T69" fmla="*/ 2085 h 5440"/>
                <a:gd name="T70" fmla="*/ 1995 w 6165"/>
                <a:gd name="T71" fmla="*/ 1586 h 5440"/>
                <a:gd name="T72" fmla="*/ 2539 w 6165"/>
                <a:gd name="T73" fmla="*/ 1586 h 5440"/>
                <a:gd name="T74" fmla="*/ 2493 w 6165"/>
                <a:gd name="T75" fmla="*/ 1088 h 5440"/>
                <a:gd name="T76" fmla="*/ 1995 w 6165"/>
                <a:gd name="T77" fmla="*/ 589 h 5440"/>
                <a:gd name="T78" fmla="*/ 2539 w 6165"/>
                <a:gd name="T79" fmla="*/ 589 h 5440"/>
                <a:gd name="T80" fmla="*/ 3379 w 6165"/>
                <a:gd name="T81" fmla="*/ 1845 h 5440"/>
                <a:gd name="T82" fmla="*/ 3627 w 6165"/>
                <a:gd name="T83" fmla="*/ 5440 h 5440"/>
                <a:gd name="T84" fmla="*/ 4080 w 6165"/>
                <a:gd name="T85" fmla="*/ 4624 h 5440"/>
                <a:gd name="T86" fmla="*/ 6165 w 6165"/>
                <a:gd name="T87" fmla="*/ 5440 h 5440"/>
                <a:gd name="T88" fmla="*/ 4171 w 6165"/>
                <a:gd name="T89" fmla="*/ 4216 h 5440"/>
                <a:gd name="T90" fmla="*/ 3627 w 6165"/>
                <a:gd name="T91" fmla="*/ 4216 h 5440"/>
                <a:gd name="T92" fmla="*/ 4125 w 6165"/>
                <a:gd name="T93" fmla="*/ 3717 h 5440"/>
                <a:gd name="T94" fmla="*/ 4171 w 6165"/>
                <a:gd name="T95" fmla="*/ 3218 h 5440"/>
                <a:gd name="T96" fmla="*/ 3627 w 6165"/>
                <a:gd name="T97" fmla="*/ 3218 h 5440"/>
                <a:gd name="T98" fmla="*/ 4125 w 6165"/>
                <a:gd name="T99" fmla="*/ 2720 h 5440"/>
                <a:gd name="T100" fmla="*/ 4987 w 6165"/>
                <a:gd name="T101" fmla="*/ 4216 h 5440"/>
                <a:gd name="T102" fmla="*/ 4443 w 6165"/>
                <a:gd name="T103" fmla="*/ 4216 h 5440"/>
                <a:gd name="T104" fmla="*/ 4941 w 6165"/>
                <a:gd name="T105" fmla="*/ 3717 h 5440"/>
                <a:gd name="T106" fmla="*/ 4987 w 6165"/>
                <a:gd name="T107" fmla="*/ 3218 h 5440"/>
                <a:gd name="T108" fmla="*/ 4443 w 6165"/>
                <a:gd name="T109" fmla="*/ 3218 h 5440"/>
                <a:gd name="T110" fmla="*/ 4941 w 6165"/>
                <a:gd name="T111" fmla="*/ 2720 h 5440"/>
                <a:gd name="T112" fmla="*/ 5803 w 6165"/>
                <a:gd name="T113" fmla="*/ 4216 h 5440"/>
                <a:gd name="T114" fmla="*/ 5259 w 6165"/>
                <a:gd name="T115" fmla="*/ 4216 h 5440"/>
                <a:gd name="T116" fmla="*/ 5757 w 6165"/>
                <a:gd name="T117" fmla="*/ 3717 h 5440"/>
                <a:gd name="T118" fmla="*/ 5803 w 6165"/>
                <a:gd name="T119" fmla="*/ 3218 h 5440"/>
                <a:gd name="T120" fmla="*/ 5259 w 6165"/>
                <a:gd name="T121" fmla="*/ 3218 h 5440"/>
                <a:gd name="T122" fmla="*/ 5757 w 6165"/>
                <a:gd name="T123" fmla="*/ 2720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5" h="5440">
                  <a:moveTo>
                    <a:pt x="2811" y="0"/>
                  </a:moveTo>
                  <a:lnTo>
                    <a:pt x="91" y="0"/>
                  </a:lnTo>
                  <a:cubicBezTo>
                    <a:pt x="41" y="0"/>
                    <a:pt x="0" y="40"/>
                    <a:pt x="0" y="90"/>
                  </a:cubicBezTo>
                  <a:lnTo>
                    <a:pt x="0" y="5440"/>
                  </a:lnTo>
                  <a:lnTo>
                    <a:pt x="363" y="5440"/>
                  </a:lnTo>
                  <a:lnTo>
                    <a:pt x="363" y="4624"/>
                  </a:lnTo>
                  <a:cubicBezTo>
                    <a:pt x="363" y="4574"/>
                    <a:pt x="403" y="4533"/>
                    <a:pt x="453" y="4533"/>
                  </a:cubicBezTo>
                  <a:lnTo>
                    <a:pt x="816" y="4533"/>
                  </a:lnTo>
                  <a:cubicBezTo>
                    <a:pt x="866" y="4533"/>
                    <a:pt x="907" y="4574"/>
                    <a:pt x="907" y="4624"/>
                  </a:cubicBezTo>
                  <a:lnTo>
                    <a:pt x="907" y="5440"/>
                  </a:lnTo>
                  <a:lnTo>
                    <a:pt x="2901" y="5440"/>
                  </a:lnTo>
                  <a:lnTo>
                    <a:pt x="2901" y="90"/>
                  </a:lnTo>
                  <a:cubicBezTo>
                    <a:pt x="2901" y="40"/>
                    <a:pt x="2861" y="0"/>
                    <a:pt x="2811" y="0"/>
                  </a:cubicBezTo>
                  <a:close/>
                  <a:moveTo>
                    <a:pt x="907" y="4034"/>
                  </a:moveTo>
                  <a:cubicBezTo>
                    <a:pt x="907" y="4059"/>
                    <a:pt x="886" y="4080"/>
                    <a:pt x="861" y="4080"/>
                  </a:cubicBezTo>
                  <a:lnTo>
                    <a:pt x="408" y="4080"/>
                  </a:lnTo>
                  <a:cubicBezTo>
                    <a:pt x="383" y="4080"/>
                    <a:pt x="363" y="4059"/>
                    <a:pt x="363" y="4034"/>
                  </a:cubicBezTo>
                  <a:lnTo>
                    <a:pt x="363" y="3581"/>
                  </a:lnTo>
                  <a:cubicBezTo>
                    <a:pt x="363" y="3556"/>
                    <a:pt x="383" y="3536"/>
                    <a:pt x="408" y="3536"/>
                  </a:cubicBezTo>
                  <a:lnTo>
                    <a:pt x="861" y="3536"/>
                  </a:lnTo>
                  <a:cubicBezTo>
                    <a:pt x="886" y="3536"/>
                    <a:pt x="907" y="3556"/>
                    <a:pt x="907" y="3581"/>
                  </a:cubicBezTo>
                  <a:lnTo>
                    <a:pt x="907" y="4034"/>
                  </a:lnTo>
                  <a:close/>
                  <a:moveTo>
                    <a:pt x="907" y="3037"/>
                  </a:moveTo>
                  <a:cubicBezTo>
                    <a:pt x="907" y="3062"/>
                    <a:pt x="886" y="3082"/>
                    <a:pt x="861" y="3082"/>
                  </a:cubicBezTo>
                  <a:lnTo>
                    <a:pt x="408" y="3082"/>
                  </a:lnTo>
                  <a:cubicBezTo>
                    <a:pt x="383" y="3082"/>
                    <a:pt x="363" y="3062"/>
                    <a:pt x="363" y="3037"/>
                  </a:cubicBezTo>
                  <a:lnTo>
                    <a:pt x="363" y="2584"/>
                  </a:lnTo>
                  <a:cubicBezTo>
                    <a:pt x="363" y="2559"/>
                    <a:pt x="383" y="2538"/>
                    <a:pt x="408" y="2538"/>
                  </a:cubicBezTo>
                  <a:lnTo>
                    <a:pt x="861" y="2538"/>
                  </a:lnTo>
                  <a:cubicBezTo>
                    <a:pt x="886" y="2538"/>
                    <a:pt x="907" y="2559"/>
                    <a:pt x="907" y="2584"/>
                  </a:cubicBezTo>
                  <a:lnTo>
                    <a:pt x="907" y="3037"/>
                  </a:lnTo>
                  <a:close/>
                  <a:moveTo>
                    <a:pt x="907" y="2040"/>
                  </a:moveTo>
                  <a:cubicBezTo>
                    <a:pt x="907" y="2065"/>
                    <a:pt x="886" y="2085"/>
                    <a:pt x="861" y="2085"/>
                  </a:cubicBezTo>
                  <a:lnTo>
                    <a:pt x="408" y="2085"/>
                  </a:lnTo>
                  <a:cubicBezTo>
                    <a:pt x="383" y="2085"/>
                    <a:pt x="363" y="2065"/>
                    <a:pt x="363" y="2040"/>
                  </a:cubicBezTo>
                  <a:lnTo>
                    <a:pt x="363" y="1586"/>
                  </a:lnTo>
                  <a:cubicBezTo>
                    <a:pt x="363" y="1561"/>
                    <a:pt x="383" y="1541"/>
                    <a:pt x="408" y="1541"/>
                  </a:cubicBezTo>
                  <a:lnTo>
                    <a:pt x="861" y="1541"/>
                  </a:lnTo>
                  <a:cubicBezTo>
                    <a:pt x="886" y="1541"/>
                    <a:pt x="907" y="1561"/>
                    <a:pt x="907" y="1586"/>
                  </a:cubicBezTo>
                  <a:lnTo>
                    <a:pt x="907" y="2040"/>
                  </a:lnTo>
                  <a:close/>
                  <a:moveTo>
                    <a:pt x="907" y="1042"/>
                  </a:moveTo>
                  <a:cubicBezTo>
                    <a:pt x="907" y="1067"/>
                    <a:pt x="886" y="1088"/>
                    <a:pt x="861" y="1088"/>
                  </a:cubicBezTo>
                  <a:lnTo>
                    <a:pt x="408" y="1088"/>
                  </a:lnTo>
                  <a:cubicBezTo>
                    <a:pt x="383" y="1088"/>
                    <a:pt x="363" y="1067"/>
                    <a:pt x="363" y="1042"/>
                  </a:cubicBezTo>
                  <a:lnTo>
                    <a:pt x="363" y="589"/>
                  </a:lnTo>
                  <a:cubicBezTo>
                    <a:pt x="363" y="564"/>
                    <a:pt x="383" y="544"/>
                    <a:pt x="408" y="544"/>
                  </a:cubicBezTo>
                  <a:lnTo>
                    <a:pt x="861" y="544"/>
                  </a:lnTo>
                  <a:cubicBezTo>
                    <a:pt x="886" y="544"/>
                    <a:pt x="907" y="564"/>
                    <a:pt x="907" y="589"/>
                  </a:cubicBezTo>
                  <a:lnTo>
                    <a:pt x="907" y="1042"/>
                  </a:lnTo>
                  <a:close/>
                  <a:moveTo>
                    <a:pt x="1723" y="4034"/>
                  </a:moveTo>
                  <a:cubicBezTo>
                    <a:pt x="1723" y="4059"/>
                    <a:pt x="1702" y="4080"/>
                    <a:pt x="1677" y="4080"/>
                  </a:cubicBezTo>
                  <a:lnTo>
                    <a:pt x="1224" y="4080"/>
                  </a:lnTo>
                  <a:cubicBezTo>
                    <a:pt x="1199" y="4080"/>
                    <a:pt x="1179" y="4059"/>
                    <a:pt x="1179" y="4034"/>
                  </a:cubicBezTo>
                  <a:lnTo>
                    <a:pt x="1179" y="3581"/>
                  </a:lnTo>
                  <a:cubicBezTo>
                    <a:pt x="1179" y="3556"/>
                    <a:pt x="1199" y="3536"/>
                    <a:pt x="1224" y="3536"/>
                  </a:cubicBezTo>
                  <a:lnTo>
                    <a:pt x="1677" y="3536"/>
                  </a:lnTo>
                  <a:cubicBezTo>
                    <a:pt x="1702" y="3536"/>
                    <a:pt x="1723" y="3556"/>
                    <a:pt x="1723" y="3581"/>
                  </a:cubicBezTo>
                  <a:lnTo>
                    <a:pt x="1723" y="4034"/>
                  </a:lnTo>
                  <a:close/>
                  <a:moveTo>
                    <a:pt x="1723" y="3037"/>
                  </a:moveTo>
                  <a:cubicBezTo>
                    <a:pt x="1723" y="3062"/>
                    <a:pt x="1702" y="3082"/>
                    <a:pt x="1677" y="3082"/>
                  </a:cubicBezTo>
                  <a:lnTo>
                    <a:pt x="1224" y="3082"/>
                  </a:lnTo>
                  <a:cubicBezTo>
                    <a:pt x="1199" y="3082"/>
                    <a:pt x="1179" y="3062"/>
                    <a:pt x="1179" y="3037"/>
                  </a:cubicBezTo>
                  <a:lnTo>
                    <a:pt x="1179" y="2584"/>
                  </a:lnTo>
                  <a:cubicBezTo>
                    <a:pt x="1179" y="2559"/>
                    <a:pt x="1199" y="2538"/>
                    <a:pt x="1224" y="2538"/>
                  </a:cubicBezTo>
                  <a:lnTo>
                    <a:pt x="1677" y="2538"/>
                  </a:lnTo>
                  <a:cubicBezTo>
                    <a:pt x="1702" y="2538"/>
                    <a:pt x="1723" y="2559"/>
                    <a:pt x="1723" y="2584"/>
                  </a:cubicBezTo>
                  <a:lnTo>
                    <a:pt x="1723" y="3037"/>
                  </a:lnTo>
                  <a:close/>
                  <a:moveTo>
                    <a:pt x="1723" y="2040"/>
                  </a:moveTo>
                  <a:cubicBezTo>
                    <a:pt x="1723" y="2065"/>
                    <a:pt x="1702" y="2085"/>
                    <a:pt x="1677" y="2085"/>
                  </a:cubicBezTo>
                  <a:lnTo>
                    <a:pt x="1224" y="2085"/>
                  </a:lnTo>
                  <a:cubicBezTo>
                    <a:pt x="1199" y="2085"/>
                    <a:pt x="1179" y="2065"/>
                    <a:pt x="1179" y="2040"/>
                  </a:cubicBezTo>
                  <a:lnTo>
                    <a:pt x="1179" y="1586"/>
                  </a:lnTo>
                  <a:cubicBezTo>
                    <a:pt x="1179" y="1561"/>
                    <a:pt x="1199" y="1541"/>
                    <a:pt x="1224" y="1541"/>
                  </a:cubicBezTo>
                  <a:lnTo>
                    <a:pt x="1677" y="1541"/>
                  </a:lnTo>
                  <a:cubicBezTo>
                    <a:pt x="1702" y="1541"/>
                    <a:pt x="1723" y="1561"/>
                    <a:pt x="1723" y="1586"/>
                  </a:cubicBezTo>
                  <a:lnTo>
                    <a:pt x="1723" y="2040"/>
                  </a:lnTo>
                  <a:close/>
                  <a:moveTo>
                    <a:pt x="1723" y="1042"/>
                  </a:moveTo>
                  <a:cubicBezTo>
                    <a:pt x="1723" y="1067"/>
                    <a:pt x="1702" y="1088"/>
                    <a:pt x="1677" y="1088"/>
                  </a:cubicBezTo>
                  <a:lnTo>
                    <a:pt x="1224" y="1088"/>
                  </a:lnTo>
                  <a:cubicBezTo>
                    <a:pt x="1199" y="1088"/>
                    <a:pt x="1179" y="1067"/>
                    <a:pt x="1179" y="1042"/>
                  </a:cubicBezTo>
                  <a:lnTo>
                    <a:pt x="1179" y="589"/>
                  </a:lnTo>
                  <a:cubicBezTo>
                    <a:pt x="1179" y="564"/>
                    <a:pt x="1199" y="544"/>
                    <a:pt x="1224" y="544"/>
                  </a:cubicBezTo>
                  <a:lnTo>
                    <a:pt x="1677" y="544"/>
                  </a:lnTo>
                  <a:cubicBezTo>
                    <a:pt x="1702" y="544"/>
                    <a:pt x="1723" y="564"/>
                    <a:pt x="1723" y="589"/>
                  </a:cubicBezTo>
                  <a:lnTo>
                    <a:pt x="1723" y="1042"/>
                  </a:lnTo>
                  <a:close/>
                  <a:moveTo>
                    <a:pt x="2539" y="4034"/>
                  </a:moveTo>
                  <a:cubicBezTo>
                    <a:pt x="2539" y="4059"/>
                    <a:pt x="2518" y="4080"/>
                    <a:pt x="2493" y="4080"/>
                  </a:cubicBezTo>
                  <a:lnTo>
                    <a:pt x="2040" y="4080"/>
                  </a:lnTo>
                  <a:cubicBezTo>
                    <a:pt x="2015" y="4080"/>
                    <a:pt x="1995" y="4059"/>
                    <a:pt x="1995" y="4034"/>
                  </a:cubicBezTo>
                  <a:lnTo>
                    <a:pt x="1995" y="3581"/>
                  </a:lnTo>
                  <a:cubicBezTo>
                    <a:pt x="1995" y="3556"/>
                    <a:pt x="2015" y="3536"/>
                    <a:pt x="2040" y="3536"/>
                  </a:cubicBezTo>
                  <a:lnTo>
                    <a:pt x="2493" y="3536"/>
                  </a:lnTo>
                  <a:cubicBezTo>
                    <a:pt x="2518" y="3536"/>
                    <a:pt x="2539" y="3556"/>
                    <a:pt x="2539" y="3581"/>
                  </a:cubicBezTo>
                  <a:lnTo>
                    <a:pt x="2539" y="4034"/>
                  </a:lnTo>
                  <a:close/>
                  <a:moveTo>
                    <a:pt x="2539" y="3037"/>
                  </a:moveTo>
                  <a:cubicBezTo>
                    <a:pt x="2539" y="3062"/>
                    <a:pt x="2518" y="3082"/>
                    <a:pt x="2493" y="3082"/>
                  </a:cubicBezTo>
                  <a:lnTo>
                    <a:pt x="2040" y="3082"/>
                  </a:lnTo>
                  <a:cubicBezTo>
                    <a:pt x="2015" y="3082"/>
                    <a:pt x="1995" y="3062"/>
                    <a:pt x="1995" y="3037"/>
                  </a:cubicBezTo>
                  <a:lnTo>
                    <a:pt x="1995" y="2584"/>
                  </a:lnTo>
                  <a:cubicBezTo>
                    <a:pt x="1995" y="2559"/>
                    <a:pt x="2015" y="2538"/>
                    <a:pt x="2040" y="2538"/>
                  </a:cubicBezTo>
                  <a:lnTo>
                    <a:pt x="2493" y="2538"/>
                  </a:lnTo>
                  <a:cubicBezTo>
                    <a:pt x="2518" y="2538"/>
                    <a:pt x="2539" y="2559"/>
                    <a:pt x="2539" y="2584"/>
                  </a:cubicBezTo>
                  <a:lnTo>
                    <a:pt x="2539" y="3037"/>
                  </a:lnTo>
                  <a:close/>
                  <a:moveTo>
                    <a:pt x="2539" y="2040"/>
                  </a:moveTo>
                  <a:cubicBezTo>
                    <a:pt x="2539" y="2065"/>
                    <a:pt x="2518" y="2085"/>
                    <a:pt x="2493" y="2085"/>
                  </a:cubicBezTo>
                  <a:lnTo>
                    <a:pt x="2040" y="2085"/>
                  </a:lnTo>
                  <a:cubicBezTo>
                    <a:pt x="2015" y="2085"/>
                    <a:pt x="1995" y="2065"/>
                    <a:pt x="1995" y="2040"/>
                  </a:cubicBezTo>
                  <a:lnTo>
                    <a:pt x="1995" y="1586"/>
                  </a:lnTo>
                  <a:cubicBezTo>
                    <a:pt x="1995" y="1561"/>
                    <a:pt x="2015" y="1541"/>
                    <a:pt x="2040" y="1541"/>
                  </a:cubicBezTo>
                  <a:lnTo>
                    <a:pt x="2493" y="1541"/>
                  </a:lnTo>
                  <a:cubicBezTo>
                    <a:pt x="2518" y="1541"/>
                    <a:pt x="2539" y="1561"/>
                    <a:pt x="2539" y="1586"/>
                  </a:cubicBezTo>
                  <a:lnTo>
                    <a:pt x="2539" y="2040"/>
                  </a:lnTo>
                  <a:close/>
                  <a:moveTo>
                    <a:pt x="2539" y="1042"/>
                  </a:moveTo>
                  <a:cubicBezTo>
                    <a:pt x="2539" y="1067"/>
                    <a:pt x="2518" y="1088"/>
                    <a:pt x="2493" y="1088"/>
                  </a:cubicBezTo>
                  <a:lnTo>
                    <a:pt x="2040" y="1088"/>
                  </a:lnTo>
                  <a:cubicBezTo>
                    <a:pt x="2015" y="1088"/>
                    <a:pt x="1995" y="1067"/>
                    <a:pt x="1995" y="1042"/>
                  </a:cubicBezTo>
                  <a:lnTo>
                    <a:pt x="1995" y="589"/>
                  </a:lnTo>
                  <a:cubicBezTo>
                    <a:pt x="1995" y="564"/>
                    <a:pt x="2015" y="544"/>
                    <a:pt x="2040" y="544"/>
                  </a:cubicBezTo>
                  <a:lnTo>
                    <a:pt x="2493" y="544"/>
                  </a:lnTo>
                  <a:cubicBezTo>
                    <a:pt x="2518" y="544"/>
                    <a:pt x="2539" y="564"/>
                    <a:pt x="2539" y="589"/>
                  </a:cubicBezTo>
                  <a:lnTo>
                    <a:pt x="2539" y="1042"/>
                  </a:lnTo>
                  <a:close/>
                  <a:moveTo>
                    <a:pt x="6099" y="2610"/>
                  </a:moveTo>
                  <a:lnTo>
                    <a:pt x="3379" y="1845"/>
                  </a:lnTo>
                  <a:cubicBezTo>
                    <a:pt x="3321" y="1829"/>
                    <a:pt x="3264" y="1873"/>
                    <a:pt x="3264" y="1933"/>
                  </a:cubicBezTo>
                  <a:lnTo>
                    <a:pt x="3264" y="5440"/>
                  </a:lnTo>
                  <a:lnTo>
                    <a:pt x="3627" y="5440"/>
                  </a:lnTo>
                  <a:lnTo>
                    <a:pt x="3627" y="4714"/>
                  </a:lnTo>
                  <a:cubicBezTo>
                    <a:pt x="3627" y="4664"/>
                    <a:pt x="3667" y="4624"/>
                    <a:pt x="3717" y="4624"/>
                  </a:cubicBezTo>
                  <a:lnTo>
                    <a:pt x="4080" y="4624"/>
                  </a:lnTo>
                  <a:cubicBezTo>
                    <a:pt x="4130" y="4624"/>
                    <a:pt x="4171" y="4664"/>
                    <a:pt x="4171" y="4714"/>
                  </a:cubicBezTo>
                  <a:lnTo>
                    <a:pt x="4171" y="5440"/>
                  </a:lnTo>
                  <a:lnTo>
                    <a:pt x="6165" y="5440"/>
                  </a:lnTo>
                  <a:lnTo>
                    <a:pt x="6165" y="2698"/>
                  </a:lnTo>
                  <a:cubicBezTo>
                    <a:pt x="6165" y="2657"/>
                    <a:pt x="6138" y="2621"/>
                    <a:pt x="6099" y="2610"/>
                  </a:cubicBezTo>
                  <a:close/>
                  <a:moveTo>
                    <a:pt x="4171" y="4216"/>
                  </a:moveTo>
                  <a:cubicBezTo>
                    <a:pt x="4171" y="4241"/>
                    <a:pt x="4150" y="4261"/>
                    <a:pt x="4125" y="4261"/>
                  </a:cubicBezTo>
                  <a:lnTo>
                    <a:pt x="3672" y="4261"/>
                  </a:lnTo>
                  <a:cubicBezTo>
                    <a:pt x="3647" y="4261"/>
                    <a:pt x="3627" y="4241"/>
                    <a:pt x="3627" y="4216"/>
                  </a:cubicBezTo>
                  <a:lnTo>
                    <a:pt x="3627" y="3762"/>
                  </a:lnTo>
                  <a:cubicBezTo>
                    <a:pt x="3627" y="3737"/>
                    <a:pt x="3647" y="3717"/>
                    <a:pt x="3672" y="3717"/>
                  </a:cubicBezTo>
                  <a:lnTo>
                    <a:pt x="4125" y="3717"/>
                  </a:lnTo>
                  <a:cubicBezTo>
                    <a:pt x="4150" y="3717"/>
                    <a:pt x="4171" y="3737"/>
                    <a:pt x="4171" y="3762"/>
                  </a:cubicBezTo>
                  <a:lnTo>
                    <a:pt x="4171" y="4216"/>
                  </a:lnTo>
                  <a:close/>
                  <a:moveTo>
                    <a:pt x="4171" y="3218"/>
                  </a:moveTo>
                  <a:cubicBezTo>
                    <a:pt x="4171" y="3243"/>
                    <a:pt x="4150" y="3264"/>
                    <a:pt x="4125" y="3264"/>
                  </a:cubicBezTo>
                  <a:lnTo>
                    <a:pt x="3672" y="3264"/>
                  </a:lnTo>
                  <a:cubicBezTo>
                    <a:pt x="3647" y="3264"/>
                    <a:pt x="3627" y="3243"/>
                    <a:pt x="3627" y="3218"/>
                  </a:cubicBezTo>
                  <a:lnTo>
                    <a:pt x="3627" y="2765"/>
                  </a:lnTo>
                  <a:cubicBezTo>
                    <a:pt x="3627" y="2740"/>
                    <a:pt x="3647" y="2720"/>
                    <a:pt x="3672" y="2720"/>
                  </a:cubicBezTo>
                  <a:lnTo>
                    <a:pt x="4125" y="2720"/>
                  </a:lnTo>
                  <a:cubicBezTo>
                    <a:pt x="4150" y="2720"/>
                    <a:pt x="4171" y="2740"/>
                    <a:pt x="4171" y="2765"/>
                  </a:cubicBezTo>
                  <a:lnTo>
                    <a:pt x="4171" y="3218"/>
                  </a:lnTo>
                  <a:close/>
                  <a:moveTo>
                    <a:pt x="4987" y="4216"/>
                  </a:moveTo>
                  <a:cubicBezTo>
                    <a:pt x="4987" y="4241"/>
                    <a:pt x="4966" y="4261"/>
                    <a:pt x="4941" y="4261"/>
                  </a:cubicBezTo>
                  <a:lnTo>
                    <a:pt x="4488" y="4261"/>
                  </a:lnTo>
                  <a:cubicBezTo>
                    <a:pt x="4463" y="4261"/>
                    <a:pt x="4443" y="4241"/>
                    <a:pt x="4443" y="4216"/>
                  </a:cubicBezTo>
                  <a:lnTo>
                    <a:pt x="4443" y="3762"/>
                  </a:lnTo>
                  <a:cubicBezTo>
                    <a:pt x="4443" y="3737"/>
                    <a:pt x="4463" y="3717"/>
                    <a:pt x="4488" y="3717"/>
                  </a:cubicBezTo>
                  <a:lnTo>
                    <a:pt x="4941" y="3717"/>
                  </a:lnTo>
                  <a:cubicBezTo>
                    <a:pt x="4966" y="3717"/>
                    <a:pt x="4987" y="3737"/>
                    <a:pt x="4987" y="3762"/>
                  </a:cubicBezTo>
                  <a:lnTo>
                    <a:pt x="4987" y="4216"/>
                  </a:lnTo>
                  <a:close/>
                  <a:moveTo>
                    <a:pt x="4987" y="3218"/>
                  </a:moveTo>
                  <a:cubicBezTo>
                    <a:pt x="4987" y="3243"/>
                    <a:pt x="4966" y="3264"/>
                    <a:pt x="4941" y="3264"/>
                  </a:cubicBezTo>
                  <a:lnTo>
                    <a:pt x="4488" y="3264"/>
                  </a:lnTo>
                  <a:cubicBezTo>
                    <a:pt x="4463" y="3264"/>
                    <a:pt x="4443" y="3243"/>
                    <a:pt x="4443" y="3218"/>
                  </a:cubicBezTo>
                  <a:lnTo>
                    <a:pt x="4443" y="2765"/>
                  </a:lnTo>
                  <a:cubicBezTo>
                    <a:pt x="4443" y="2740"/>
                    <a:pt x="4463" y="2720"/>
                    <a:pt x="4488" y="2720"/>
                  </a:cubicBezTo>
                  <a:lnTo>
                    <a:pt x="4941" y="2720"/>
                  </a:lnTo>
                  <a:cubicBezTo>
                    <a:pt x="4966" y="2720"/>
                    <a:pt x="4987" y="2740"/>
                    <a:pt x="4987" y="2765"/>
                  </a:cubicBezTo>
                  <a:lnTo>
                    <a:pt x="4987" y="3218"/>
                  </a:lnTo>
                  <a:close/>
                  <a:moveTo>
                    <a:pt x="5803" y="4216"/>
                  </a:moveTo>
                  <a:cubicBezTo>
                    <a:pt x="5803" y="4241"/>
                    <a:pt x="5782" y="4261"/>
                    <a:pt x="5757" y="4261"/>
                  </a:cubicBezTo>
                  <a:lnTo>
                    <a:pt x="5304" y="4261"/>
                  </a:lnTo>
                  <a:cubicBezTo>
                    <a:pt x="5279" y="4261"/>
                    <a:pt x="5259" y="4241"/>
                    <a:pt x="5259" y="4216"/>
                  </a:cubicBezTo>
                  <a:lnTo>
                    <a:pt x="5259" y="3762"/>
                  </a:lnTo>
                  <a:cubicBezTo>
                    <a:pt x="5259" y="3737"/>
                    <a:pt x="5279" y="3717"/>
                    <a:pt x="5304" y="3717"/>
                  </a:cubicBezTo>
                  <a:lnTo>
                    <a:pt x="5757" y="3717"/>
                  </a:lnTo>
                  <a:cubicBezTo>
                    <a:pt x="5782" y="3717"/>
                    <a:pt x="5803" y="3737"/>
                    <a:pt x="5803" y="3762"/>
                  </a:cubicBezTo>
                  <a:lnTo>
                    <a:pt x="5803" y="4216"/>
                  </a:lnTo>
                  <a:close/>
                  <a:moveTo>
                    <a:pt x="5803" y="3218"/>
                  </a:moveTo>
                  <a:cubicBezTo>
                    <a:pt x="5803" y="3243"/>
                    <a:pt x="5782" y="3264"/>
                    <a:pt x="5757" y="3264"/>
                  </a:cubicBezTo>
                  <a:lnTo>
                    <a:pt x="5304" y="3264"/>
                  </a:lnTo>
                  <a:cubicBezTo>
                    <a:pt x="5279" y="3264"/>
                    <a:pt x="5259" y="3243"/>
                    <a:pt x="5259" y="3218"/>
                  </a:cubicBezTo>
                  <a:lnTo>
                    <a:pt x="5259" y="2765"/>
                  </a:lnTo>
                  <a:cubicBezTo>
                    <a:pt x="5259" y="2740"/>
                    <a:pt x="5279" y="2720"/>
                    <a:pt x="5304" y="2720"/>
                  </a:cubicBezTo>
                  <a:lnTo>
                    <a:pt x="5757" y="2720"/>
                  </a:lnTo>
                  <a:cubicBezTo>
                    <a:pt x="5782" y="2720"/>
                    <a:pt x="5803" y="2740"/>
                    <a:pt x="5803" y="2765"/>
                  </a:cubicBezTo>
                  <a:lnTo>
                    <a:pt x="5803" y="32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656877A4-8D62-48B5-AE35-6472E7A65356}"/>
                </a:ext>
              </a:extLst>
            </p:cNvPr>
            <p:cNvSpPr/>
            <p:nvPr/>
          </p:nvSpPr>
          <p:spPr bwMode="auto">
            <a:xfrm>
              <a:off x="9572371" y="1448986"/>
              <a:ext cx="354658" cy="312462"/>
            </a:xfrm>
            <a:custGeom>
              <a:avLst/>
              <a:gdLst>
                <a:gd name="T0" fmla="*/ 0 w 6165"/>
                <a:gd name="T1" fmla="*/ 90 h 5440"/>
                <a:gd name="T2" fmla="*/ 363 w 6165"/>
                <a:gd name="T3" fmla="*/ 4624 h 5440"/>
                <a:gd name="T4" fmla="*/ 907 w 6165"/>
                <a:gd name="T5" fmla="*/ 4624 h 5440"/>
                <a:gd name="T6" fmla="*/ 2901 w 6165"/>
                <a:gd name="T7" fmla="*/ 90 h 5440"/>
                <a:gd name="T8" fmla="*/ 861 w 6165"/>
                <a:gd name="T9" fmla="*/ 4080 h 5440"/>
                <a:gd name="T10" fmla="*/ 363 w 6165"/>
                <a:gd name="T11" fmla="*/ 3581 h 5440"/>
                <a:gd name="T12" fmla="*/ 907 w 6165"/>
                <a:gd name="T13" fmla="*/ 3581 h 5440"/>
                <a:gd name="T14" fmla="*/ 861 w 6165"/>
                <a:gd name="T15" fmla="*/ 3082 h 5440"/>
                <a:gd name="T16" fmla="*/ 363 w 6165"/>
                <a:gd name="T17" fmla="*/ 2584 h 5440"/>
                <a:gd name="T18" fmla="*/ 907 w 6165"/>
                <a:gd name="T19" fmla="*/ 2584 h 5440"/>
                <a:gd name="T20" fmla="*/ 861 w 6165"/>
                <a:gd name="T21" fmla="*/ 2085 h 5440"/>
                <a:gd name="T22" fmla="*/ 363 w 6165"/>
                <a:gd name="T23" fmla="*/ 1586 h 5440"/>
                <a:gd name="T24" fmla="*/ 907 w 6165"/>
                <a:gd name="T25" fmla="*/ 1586 h 5440"/>
                <a:gd name="T26" fmla="*/ 861 w 6165"/>
                <a:gd name="T27" fmla="*/ 1088 h 5440"/>
                <a:gd name="T28" fmla="*/ 363 w 6165"/>
                <a:gd name="T29" fmla="*/ 589 h 5440"/>
                <a:gd name="T30" fmla="*/ 907 w 6165"/>
                <a:gd name="T31" fmla="*/ 589 h 5440"/>
                <a:gd name="T32" fmla="*/ 1677 w 6165"/>
                <a:gd name="T33" fmla="*/ 4080 h 5440"/>
                <a:gd name="T34" fmla="*/ 1179 w 6165"/>
                <a:gd name="T35" fmla="*/ 3581 h 5440"/>
                <a:gd name="T36" fmla="*/ 1723 w 6165"/>
                <a:gd name="T37" fmla="*/ 3581 h 5440"/>
                <a:gd name="T38" fmla="*/ 1677 w 6165"/>
                <a:gd name="T39" fmla="*/ 3082 h 5440"/>
                <a:gd name="T40" fmla="*/ 1179 w 6165"/>
                <a:gd name="T41" fmla="*/ 2584 h 5440"/>
                <a:gd name="T42" fmla="*/ 1723 w 6165"/>
                <a:gd name="T43" fmla="*/ 2584 h 5440"/>
                <a:gd name="T44" fmla="*/ 1677 w 6165"/>
                <a:gd name="T45" fmla="*/ 2085 h 5440"/>
                <a:gd name="T46" fmla="*/ 1179 w 6165"/>
                <a:gd name="T47" fmla="*/ 1586 h 5440"/>
                <a:gd name="T48" fmla="*/ 1723 w 6165"/>
                <a:gd name="T49" fmla="*/ 1586 h 5440"/>
                <a:gd name="T50" fmla="*/ 1677 w 6165"/>
                <a:gd name="T51" fmla="*/ 1088 h 5440"/>
                <a:gd name="T52" fmla="*/ 1179 w 6165"/>
                <a:gd name="T53" fmla="*/ 589 h 5440"/>
                <a:gd name="T54" fmla="*/ 1723 w 6165"/>
                <a:gd name="T55" fmla="*/ 589 h 5440"/>
                <a:gd name="T56" fmla="*/ 2493 w 6165"/>
                <a:gd name="T57" fmla="*/ 4080 h 5440"/>
                <a:gd name="T58" fmla="*/ 1995 w 6165"/>
                <a:gd name="T59" fmla="*/ 3581 h 5440"/>
                <a:gd name="T60" fmla="*/ 2539 w 6165"/>
                <a:gd name="T61" fmla="*/ 3581 h 5440"/>
                <a:gd name="T62" fmla="*/ 2493 w 6165"/>
                <a:gd name="T63" fmla="*/ 3082 h 5440"/>
                <a:gd name="T64" fmla="*/ 1995 w 6165"/>
                <a:gd name="T65" fmla="*/ 2584 h 5440"/>
                <a:gd name="T66" fmla="*/ 2539 w 6165"/>
                <a:gd name="T67" fmla="*/ 2584 h 5440"/>
                <a:gd name="T68" fmla="*/ 2493 w 6165"/>
                <a:gd name="T69" fmla="*/ 2085 h 5440"/>
                <a:gd name="T70" fmla="*/ 1995 w 6165"/>
                <a:gd name="T71" fmla="*/ 1586 h 5440"/>
                <a:gd name="T72" fmla="*/ 2539 w 6165"/>
                <a:gd name="T73" fmla="*/ 1586 h 5440"/>
                <a:gd name="T74" fmla="*/ 2493 w 6165"/>
                <a:gd name="T75" fmla="*/ 1088 h 5440"/>
                <a:gd name="T76" fmla="*/ 1995 w 6165"/>
                <a:gd name="T77" fmla="*/ 589 h 5440"/>
                <a:gd name="T78" fmla="*/ 2539 w 6165"/>
                <a:gd name="T79" fmla="*/ 589 h 5440"/>
                <a:gd name="T80" fmla="*/ 3379 w 6165"/>
                <a:gd name="T81" fmla="*/ 1845 h 5440"/>
                <a:gd name="T82" fmla="*/ 3627 w 6165"/>
                <a:gd name="T83" fmla="*/ 5440 h 5440"/>
                <a:gd name="T84" fmla="*/ 4080 w 6165"/>
                <a:gd name="T85" fmla="*/ 4624 h 5440"/>
                <a:gd name="T86" fmla="*/ 6165 w 6165"/>
                <a:gd name="T87" fmla="*/ 5440 h 5440"/>
                <a:gd name="T88" fmla="*/ 4171 w 6165"/>
                <a:gd name="T89" fmla="*/ 4216 h 5440"/>
                <a:gd name="T90" fmla="*/ 3627 w 6165"/>
                <a:gd name="T91" fmla="*/ 4216 h 5440"/>
                <a:gd name="T92" fmla="*/ 4125 w 6165"/>
                <a:gd name="T93" fmla="*/ 3717 h 5440"/>
                <a:gd name="T94" fmla="*/ 4171 w 6165"/>
                <a:gd name="T95" fmla="*/ 3218 h 5440"/>
                <a:gd name="T96" fmla="*/ 3627 w 6165"/>
                <a:gd name="T97" fmla="*/ 3218 h 5440"/>
                <a:gd name="T98" fmla="*/ 4125 w 6165"/>
                <a:gd name="T99" fmla="*/ 2720 h 5440"/>
                <a:gd name="T100" fmla="*/ 4987 w 6165"/>
                <a:gd name="T101" fmla="*/ 4216 h 5440"/>
                <a:gd name="T102" fmla="*/ 4443 w 6165"/>
                <a:gd name="T103" fmla="*/ 4216 h 5440"/>
                <a:gd name="T104" fmla="*/ 4941 w 6165"/>
                <a:gd name="T105" fmla="*/ 3717 h 5440"/>
                <a:gd name="T106" fmla="*/ 4987 w 6165"/>
                <a:gd name="T107" fmla="*/ 3218 h 5440"/>
                <a:gd name="T108" fmla="*/ 4443 w 6165"/>
                <a:gd name="T109" fmla="*/ 3218 h 5440"/>
                <a:gd name="T110" fmla="*/ 4941 w 6165"/>
                <a:gd name="T111" fmla="*/ 2720 h 5440"/>
                <a:gd name="T112" fmla="*/ 5803 w 6165"/>
                <a:gd name="T113" fmla="*/ 4216 h 5440"/>
                <a:gd name="T114" fmla="*/ 5259 w 6165"/>
                <a:gd name="T115" fmla="*/ 4216 h 5440"/>
                <a:gd name="T116" fmla="*/ 5757 w 6165"/>
                <a:gd name="T117" fmla="*/ 3717 h 5440"/>
                <a:gd name="T118" fmla="*/ 5803 w 6165"/>
                <a:gd name="T119" fmla="*/ 3218 h 5440"/>
                <a:gd name="T120" fmla="*/ 5259 w 6165"/>
                <a:gd name="T121" fmla="*/ 3218 h 5440"/>
                <a:gd name="T122" fmla="*/ 5757 w 6165"/>
                <a:gd name="T123" fmla="*/ 2720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5" h="5440">
                  <a:moveTo>
                    <a:pt x="2811" y="0"/>
                  </a:moveTo>
                  <a:lnTo>
                    <a:pt x="91" y="0"/>
                  </a:lnTo>
                  <a:cubicBezTo>
                    <a:pt x="41" y="0"/>
                    <a:pt x="0" y="40"/>
                    <a:pt x="0" y="90"/>
                  </a:cubicBezTo>
                  <a:lnTo>
                    <a:pt x="0" y="5440"/>
                  </a:lnTo>
                  <a:lnTo>
                    <a:pt x="363" y="5440"/>
                  </a:lnTo>
                  <a:lnTo>
                    <a:pt x="363" y="4624"/>
                  </a:lnTo>
                  <a:cubicBezTo>
                    <a:pt x="363" y="4574"/>
                    <a:pt x="403" y="4533"/>
                    <a:pt x="453" y="4533"/>
                  </a:cubicBezTo>
                  <a:lnTo>
                    <a:pt x="816" y="4533"/>
                  </a:lnTo>
                  <a:cubicBezTo>
                    <a:pt x="866" y="4533"/>
                    <a:pt x="907" y="4574"/>
                    <a:pt x="907" y="4624"/>
                  </a:cubicBezTo>
                  <a:lnTo>
                    <a:pt x="907" y="5440"/>
                  </a:lnTo>
                  <a:lnTo>
                    <a:pt x="2901" y="5440"/>
                  </a:lnTo>
                  <a:lnTo>
                    <a:pt x="2901" y="90"/>
                  </a:lnTo>
                  <a:cubicBezTo>
                    <a:pt x="2901" y="40"/>
                    <a:pt x="2861" y="0"/>
                    <a:pt x="2811" y="0"/>
                  </a:cubicBezTo>
                  <a:close/>
                  <a:moveTo>
                    <a:pt x="907" y="4034"/>
                  </a:moveTo>
                  <a:cubicBezTo>
                    <a:pt x="907" y="4059"/>
                    <a:pt x="886" y="4080"/>
                    <a:pt x="861" y="4080"/>
                  </a:cubicBezTo>
                  <a:lnTo>
                    <a:pt x="408" y="4080"/>
                  </a:lnTo>
                  <a:cubicBezTo>
                    <a:pt x="383" y="4080"/>
                    <a:pt x="363" y="4059"/>
                    <a:pt x="363" y="4034"/>
                  </a:cubicBezTo>
                  <a:lnTo>
                    <a:pt x="363" y="3581"/>
                  </a:lnTo>
                  <a:cubicBezTo>
                    <a:pt x="363" y="3556"/>
                    <a:pt x="383" y="3536"/>
                    <a:pt x="408" y="3536"/>
                  </a:cubicBezTo>
                  <a:lnTo>
                    <a:pt x="861" y="3536"/>
                  </a:lnTo>
                  <a:cubicBezTo>
                    <a:pt x="886" y="3536"/>
                    <a:pt x="907" y="3556"/>
                    <a:pt x="907" y="3581"/>
                  </a:cubicBezTo>
                  <a:lnTo>
                    <a:pt x="907" y="4034"/>
                  </a:lnTo>
                  <a:close/>
                  <a:moveTo>
                    <a:pt x="907" y="3037"/>
                  </a:moveTo>
                  <a:cubicBezTo>
                    <a:pt x="907" y="3062"/>
                    <a:pt x="886" y="3082"/>
                    <a:pt x="861" y="3082"/>
                  </a:cubicBezTo>
                  <a:lnTo>
                    <a:pt x="408" y="3082"/>
                  </a:lnTo>
                  <a:cubicBezTo>
                    <a:pt x="383" y="3082"/>
                    <a:pt x="363" y="3062"/>
                    <a:pt x="363" y="3037"/>
                  </a:cubicBezTo>
                  <a:lnTo>
                    <a:pt x="363" y="2584"/>
                  </a:lnTo>
                  <a:cubicBezTo>
                    <a:pt x="363" y="2559"/>
                    <a:pt x="383" y="2538"/>
                    <a:pt x="408" y="2538"/>
                  </a:cubicBezTo>
                  <a:lnTo>
                    <a:pt x="861" y="2538"/>
                  </a:lnTo>
                  <a:cubicBezTo>
                    <a:pt x="886" y="2538"/>
                    <a:pt x="907" y="2559"/>
                    <a:pt x="907" y="2584"/>
                  </a:cubicBezTo>
                  <a:lnTo>
                    <a:pt x="907" y="3037"/>
                  </a:lnTo>
                  <a:close/>
                  <a:moveTo>
                    <a:pt x="907" y="2040"/>
                  </a:moveTo>
                  <a:cubicBezTo>
                    <a:pt x="907" y="2065"/>
                    <a:pt x="886" y="2085"/>
                    <a:pt x="861" y="2085"/>
                  </a:cubicBezTo>
                  <a:lnTo>
                    <a:pt x="408" y="2085"/>
                  </a:lnTo>
                  <a:cubicBezTo>
                    <a:pt x="383" y="2085"/>
                    <a:pt x="363" y="2065"/>
                    <a:pt x="363" y="2040"/>
                  </a:cubicBezTo>
                  <a:lnTo>
                    <a:pt x="363" y="1586"/>
                  </a:lnTo>
                  <a:cubicBezTo>
                    <a:pt x="363" y="1561"/>
                    <a:pt x="383" y="1541"/>
                    <a:pt x="408" y="1541"/>
                  </a:cubicBezTo>
                  <a:lnTo>
                    <a:pt x="861" y="1541"/>
                  </a:lnTo>
                  <a:cubicBezTo>
                    <a:pt x="886" y="1541"/>
                    <a:pt x="907" y="1561"/>
                    <a:pt x="907" y="1586"/>
                  </a:cubicBezTo>
                  <a:lnTo>
                    <a:pt x="907" y="2040"/>
                  </a:lnTo>
                  <a:close/>
                  <a:moveTo>
                    <a:pt x="907" y="1042"/>
                  </a:moveTo>
                  <a:cubicBezTo>
                    <a:pt x="907" y="1067"/>
                    <a:pt x="886" y="1088"/>
                    <a:pt x="861" y="1088"/>
                  </a:cubicBezTo>
                  <a:lnTo>
                    <a:pt x="408" y="1088"/>
                  </a:lnTo>
                  <a:cubicBezTo>
                    <a:pt x="383" y="1088"/>
                    <a:pt x="363" y="1067"/>
                    <a:pt x="363" y="1042"/>
                  </a:cubicBezTo>
                  <a:lnTo>
                    <a:pt x="363" y="589"/>
                  </a:lnTo>
                  <a:cubicBezTo>
                    <a:pt x="363" y="564"/>
                    <a:pt x="383" y="544"/>
                    <a:pt x="408" y="544"/>
                  </a:cubicBezTo>
                  <a:lnTo>
                    <a:pt x="861" y="544"/>
                  </a:lnTo>
                  <a:cubicBezTo>
                    <a:pt x="886" y="544"/>
                    <a:pt x="907" y="564"/>
                    <a:pt x="907" y="589"/>
                  </a:cubicBezTo>
                  <a:lnTo>
                    <a:pt x="907" y="1042"/>
                  </a:lnTo>
                  <a:close/>
                  <a:moveTo>
                    <a:pt x="1723" y="4034"/>
                  </a:moveTo>
                  <a:cubicBezTo>
                    <a:pt x="1723" y="4059"/>
                    <a:pt x="1702" y="4080"/>
                    <a:pt x="1677" y="4080"/>
                  </a:cubicBezTo>
                  <a:lnTo>
                    <a:pt x="1224" y="4080"/>
                  </a:lnTo>
                  <a:cubicBezTo>
                    <a:pt x="1199" y="4080"/>
                    <a:pt x="1179" y="4059"/>
                    <a:pt x="1179" y="4034"/>
                  </a:cubicBezTo>
                  <a:lnTo>
                    <a:pt x="1179" y="3581"/>
                  </a:lnTo>
                  <a:cubicBezTo>
                    <a:pt x="1179" y="3556"/>
                    <a:pt x="1199" y="3536"/>
                    <a:pt x="1224" y="3536"/>
                  </a:cubicBezTo>
                  <a:lnTo>
                    <a:pt x="1677" y="3536"/>
                  </a:lnTo>
                  <a:cubicBezTo>
                    <a:pt x="1702" y="3536"/>
                    <a:pt x="1723" y="3556"/>
                    <a:pt x="1723" y="3581"/>
                  </a:cubicBezTo>
                  <a:lnTo>
                    <a:pt x="1723" y="4034"/>
                  </a:lnTo>
                  <a:close/>
                  <a:moveTo>
                    <a:pt x="1723" y="3037"/>
                  </a:moveTo>
                  <a:cubicBezTo>
                    <a:pt x="1723" y="3062"/>
                    <a:pt x="1702" y="3082"/>
                    <a:pt x="1677" y="3082"/>
                  </a:cubicBezTo>
                  <a:lnTo>
                    <a:pt x="1224" y="3082"/>
                  </a:lnTo>
                  <a:cubicBezTo>
                    <a:pt x="1199" y="3082"/>
                    <a:pt x="1179" y="3062"/>
                    <a:pt x="1179" y="3037"/>
                  </a:cubicBezTo>
                  <a:lnTo>
                    <a:pt x="1179" y="2584"/>
                  </a:lnTo>
                  <a:cubicBezTo>
                    <a:pt x="1179" y="2559"/>
                    <a:pt x="1199" y="2538"/>
                    <a:pt x="1224" y="2538"/>
                  </a:cubicBezTo>
                  <a:lnTo>
                    <a:pt x="1677" y="2538"/>
                  </a:lnTo>
                  <a:cubicBezTo>
                    <a:pt x="1702" y="2538"/>
                    <a:pt x="1723" y="2559"/>
                    <a:pt x="1723" y="2584"/>
                  </a:cubicBezTo>
                  <a:lnTo>
                    <a:pt x="1723" y="3037"/>
                  </a:lnTo>
                  <a:close/>
                  <a:moveTo>
                    <a:pt x="1723" y="2040"/>
                  </a:moveTo>
                  <a:cubicBezTo>
                    <a:pt x="1723" y="2065"/>
                    <a:pt x="1702" y="2085"/>
                    <a:pt x="1677" y="2085"/>
                  </a:cubicBezTo>
                  <a:lnTo>
                    <a:pt x="1224" y="2085"/>
                  </a:lnTo>
                  <a:cubicBezTo>
                    <a:pt x="1199" y="2085"/>
                    <a:pt x="1179" y="2065"/>
                    <a:pt x="1179" y="2040"/>
                  </a:cubicBezTo>
                  <a:lnTo>
                    <a:pt x="1179" y="1586"/>
                  </a:lnTo>
                  <a:cubicBezTo>
                    <a:pt x="1179" y="1561"/>
                    <a:pt x="1199" y="1541"/>
                    <a:pt x="1224" y="1541"/>
                  </a:cubicBezTo>
                  <a:lnTo>
                    <a:pt x="1677" y="1541"/>
                  </a:lnTo>
                  <a:cubicBezTo>
                    <a:pt x="1702" y="1541"/>
                    <a:pt x="1723" y="1561"/>
                    <a:pt x="1723" y="1586"/>
                  </a:cubicBezTo>
                  <a:lnTo>
                    <a:pt x="1723" y="2040"/>
                  </a:lnTo>
                  <a:close/>
                  <a:moveTo>
                    <a:pt x="1723" y="1042"/>
                  </a:moveTo>
                  <a:cubicBezTo>
                    <a:pt x="1723" y="1067"/>
                    <a:pt x="1702" y="1088"/>
                    <a:pt x="1677" y="1088"/>
                  </a:cubicBezTo>
                  <a:lnTo>
                    <a:pt x="1224" y="1088"/>
                  </a:lnTo>
                  <a:cubicBezTo>
                    <a:pt x="1199" y="1088"/>
                    <a:pt x="1179" y="1067"/>
                    <a:pt x="1179" y="1042"/>
                  </a:cubicBezTo>
                  <a:lnTo>
                    <a:pt x="1179" y="589"/>
                  </a:lnTo>
                  <a:cubicBezTo>
                    <a:pt x="1179" y="564"/>
                    <a:pt x="1199" y="544"/>
                    <a:pt x="1224" y="544"/>
                  </a:cubicBezTo>
                  <a:lnTo>
                    <a:pt x="1677" y="544"/>
                  </a:lnTo>
                  <a:cubicBezTo>
                    <a:pt x="1702" y="544"/>
                    <a:pt x="1723" y="564"/>
                    <a:pt x="1723" y="589"/>
                  </a:cubicBezTo>
                  <a:lnTo>
                    <a:pt x="1723" y="1042"/>
                  </a:lnTo>
                  <a:close/>
                  <a:moveTo>
                    <a:pt x="2539" y="4034"/>
                  </a:moveTo>
                  <a:cubicBezTo>
                    <a:pt x="2539" y="4059"/>
                    <a:pt x="2518" y="4080"/>
                    <a:pt x="2493" y="4080"/>
                  </a:cubicBezTo>
                  <a:lnTo>
                    <a:pt x="2040" y="4080"/>
                  </a:lnTo>
                  <a:cubicBezTo>
                    <a:pt x="2015" y="4080"/>
                    <a:pt x="1995" y="4059"/>
                    <a:pt x="1995" y="4034"/>
                  </a:cubicBezTo>
                  <a:lnTo>
                    <a:pt x="1995" y="3581"/>
                  </a:lnTo>
                  <a:cubicBezTo>
                    <a:pt x="1995" y="3556"/>
                    <a:pt x="2015" y="3536"/>
                    <a:pt x="2040" y="3536"/>
                  </a:cubicBezTo>
                  <a:lnTo>
                    <a:pt x="2493" y="3536"/>
                  </a:lnTo>
                  <a:cubicBezTo>
                    <a:pt x="2518" y="3536"/>
                    <a:pt x="2539" y="3556"/>
                    <a:pt x="2539" y="3581"/>
                  </a:cubicBezTo>
                  <a:lnTo>
                    <a:pt x="2539" y="4034"/>
                  </a:lnTo>
                  <a:close/>
                  <a:moveTo>
                    <a:pt x="2539" y="3037"/>
                  </a:moveTo>
                  <a:cubicBezTo>
                    <a:pt x="2539" y="3062"/>
                    <a:pt x="2518" y="3082"/>
                    <a:pt x="2493" y="3082"/>
                  </a:cubicBezTo>
                  <a:lnTo>
                    <a:pt x="2040" y="3082"/>
                  </a:lnTo>
                  <a:cubicBezTo>
                    <a:pt x="2015" y="3082"/>
                    <a:pt x="1995" y="3062"/>
                    <a:pt x="1995" y="3037"/>
                  </a:cubicBezTo>
                  <a:lnTo>
                    <a:pt x="1995" y="2584"/>
                  </a:lnTo>
                  <a:cubicBezTo>
                    <a:pt x="1995" y="2559"/>
                    <a:pt x="2015" y="2538"/>
                    <a:pt x="2040" y="2538"/>
                  </a:cubicBezTo>
                  <a:lnTo>
                    <a:pt x="2493" y="2538"/>
                  </a:lnTo>
                  <a:cubicBezTo>
                    <a:pt x="2518" y="2538"/>
                    <a:pt x="2539" y="2559"/>
                    <a:pt x="2539" y="2584"/>
                  </a:cubicBezTo>
                  <a:lnTo>
                    <a:pt x="2539" y="3037"/>
                  </a:lnTo>
                  <a:close/>
                  <a:moveTo>
                    <a:pt x="2539" y="2040"/>
                  </a:moveTo>
                  <a:cubicBezTo>
                    <a:pt x="2539" y="2065"/>
                    <a:pt x="2518" y="2085"/>
                    <a:pt x="2493" y="2085"/>
                  </a:cubicBezTo>
                  <a:lnTo>
                    <a:pt x="2040" y="2085"/>
                  </a:lnTo>
                  <a:cubicBezTo>
                    <a:pt x="2015" y="2085"/>
                    <a:pt x="1995" y="2065"/>
                    <a:pt x="1995" y="2040"/>
                  </a:cubicBezTo>
                  <a:lnTo>
                    <a:pt x="1995" y="1586"/>
                  </a:lnTo>
                  <a:cubicBezTo>
                    <a:pt x="1995" y="1561"/>
                    <a:pt x="2015" y="1541"/>
                    <a:pt x="2040" y="1541"/>
                  </a:cubicBezTo>
                  <a:lnTo>
                    <a:pt x="2493" y="1541"/>
                  </a:lnTo>
                  <a:cubicBezTo>
                    <a:pt x="2518" y="1541"/>
                    <a:pt x="2539" y="1561"/>
                    <a:pt x="2539" y="1586"/>
                  </a:cubicBezTo>
                  <a:lnTo>
                    <a:pt x="2539" y="2040"/>
                  </a:lnTo>
                  <a:close/>
                  <a:moveTo>
                    <a:pt x="2539" y="1042"/>
                  </a:moveTo>
                  <a:cubicBezTo>
                    <a:pt x="2539" y="1067"/>
                    <a:pt x="2518" y="1088"/>
                    <a:pt x="2493" y="1088"/>
                  </a:cubicBezTo>
                  <a:lnTo>
                    <a:pt x="2040" y="1088"/>
                  </a:lnTo>
                  <a:cubicBezTo>
                    <a:pt x="2015" y="1088"/>
                    <a:pt x="1995" y="1067"/>
                    <a:pt x="1995" y="1042"/>
                  </a:cubicBezTo>
                  <a:lnTo>
                    <a:pt x="1995" y="589"/>
                  </a:lnTo>
                  <a:cubicBezTo>
                    <a:pt x="1995" y="564"/>
                    <a:pt x="2015" y="544"/>
                    <a:pt x="2040" y="544"/>
                  </a:cubicBezTo>
                  <a:lnTo>
                    <a:pt x="2493" y="544"/>
                  </a:lnTo>
                  <a:cubicBezTo>
                    <a:pt x="2518" y="544"/>
                    <a:pt x="2539" y="564"/>
                    <a:pt x="2539" y="589"/>
                  </a:cubicBezTo>
                  <a:lnTo>
                    <a:pt x="2539" y="1042"/>
                  </a:lnTo>
                  <a:close/>
                  <a:moveTo>
                    <a:pt x="6099" y="2610"/>
                  </a:moveTo>
                  <a:lnTo>
                    <a:pt x="3379" y="1845"/>
                  </a:lnTo>
                  <a:cubicBezTo>
                    <a:pt x="3321" y="1829"/>
                    <a:pt x="3264" y="1873"/>
                    <a:pt x="3264" y="1933"/>
                  </a:cubicBezTo>
                  <a:lnTo>
                    <a:pt x="3264" y="5440"/>
                  </a:lnTo>
                  <a:lnTo>
                    <a:pt x="3627" y="5440"/>
                  </a:lnTo>
                  <a:lnTo>
                    <a:pt x="3627" y="4714"/>
                  </a:lnTo>
                  <a:cubicBezTo>
                    <a:pt x="3627" y="4664"/>
                    <a:pt x="3667" y="4624"/>
                    <a:pt x="3717" y="4624"/>
                  </a:cubicBezTo>
                  <a:lnTo>
                    <a:pt x="4080" y="4624"/>
                  </a:lnTo>
                  <a:cubicBezTo>
                    <a:pt x="4130" y="4624"/>
                    <a:pt x="4171" y="4664"/>
                    <a:pt x="4171" y="4714"/>
                  </a:cubicBezTo>
                  <a:lnTo>
                    <a:pt x="4171" y="5440"/>
                  </a:lnTo>
                  <a:lnTo>
                    <a:pt x="6165" y="5440"/>
                  </a:lnTo>
                  <a:lnTo>
                    <a:pt x="6165" y="2698"/>
                  </a:lnTo>
                  <a:cubicBezTo>
                    <a:pt x="6165" y="2657"/>
                    <a:pt x="6138" y="2621"/>
                    <a:pt x="6099" y="2610"/>
                  </a:cubicBezTo>
                  <a:close/>
                  <a:moveTo>
                    <a:pt x="4171" y="4216"/>
                  </a:moveTo>
                  <a:cubicBezTo>
                    <a:pt x="4171" y="4241"/>
                    <a:pt x="4150" y="4261"/>
                    <a:pt x="4125" y="4261"/>
                  </a:cubicBezTo>
                  <a:lnTo>
                    <a:pt x="3672" y="4261"/>
                  </a:lnTo>
                  <a:cubicBezTo>
                    <a:pt x="3647" y="4261"/>
                    <a:pt x="3627" y="4241"/>
                    <a:pt x="3627" y="4216"/>
                  </a:cubicBezTo>
                  <a:lnTo>
                    <a:pt x="3627" y="3762"/>
                  </a:lnTo>
                  <a:cubicBezTo>
                    <a:pt x="3627" y="3737"/>
                    <a:pt x="3647" y="3717"/>
                    <a:pt x="3672" y="3717"/>
                  </a:cubicBezTo>
                  <a:lnTo>
                    <a:pt x="4125" y="3717"/>
                  </a:lnTo>
                  <a:cubicBezTo>
                    <a:pt x="4150" y="3717"/>
                    <a:pt x="4171" y="3737"/>
                    <a:pt x="4171" y="3762"/>
                  </a:cubicBezTo>
                  <a:lnTo>
                    <a:pt x="4171" y="4216"/>
                  </a:lnTo>
                  <a:close/>
                  <a:moveTo>
                    <a:pt x="4171" y="3218"/>
                  </a:moveTo>
                  <a:cubicBezTo>
                    <a:pt x="4171" y="3243"/>
                    <a:pt x="4150" y="3264"/>
                    <a:pt x="4125" y="3264"/>
                  </a:cubicBezTo>
                  <a:lnTo>
                    <a:pt x="3672" y="3264"/>
                  </a:lnTo>
                  <a:cubicBezTo>
                    <a:pt x="3647" y="3264"/>
                    <a:pt x="3627" y="3243"/>
                    <a:pt x="3627" y="3218"/>
                  </a:cubicBezTo>
                  <a:lnTo>
                    <a:pt x="3627" y="2765"/>
                  </a:lnTo>
                  <a:cubicBezTo>
                    <a:pt x="3627" y="2740"/>
                    <a:pt x="3647" y="2720"/>
                    <a:pt x="3672" y="2720"/>
                  </a:cubicBezTo>
                  <a:lnTo>
                    <a:pt x="4125" y="2720"/>
                  </a:lnTo>
                  <a:cubicBezTo>
                    <a:pt x="4150" y="2720"/>
                    <a:pt x="4171" y="2740"/>
                    <a:pt x="4171" y="2765"/>
                  </a:cubicBezTo>
                  <a:lnTo>
                    <a:pt x="4171" y="3218"/>
                  </a:lnTo>
                  <a:close/>
                  <a:moveTo>
                    <a:pt x="4987" y="4216"/>
                  </a:moveTo>
                  <a:cubicBezTo>
                    <a:pt x="4987" y="4241"/>
                    <a:pt x="4966" y="4261"/>
                    <a:pt x="4941" y="4261"/>
                  </a:cubicBezTo>
                  <a:lnTo>
                    <a:pt x="4488" y="4261"/>
                  </a:lnTo>
                  <a:cubicBezTo>
                    <a:pt x="4463" y="4261"/>
                    <a:pt x="4443" y="4241"/>
                    <a:pt x="4443" y="4216"/>
                  </a:cubicBezTo>
                  <a:lnTo>
                    <a:pt x="4443" y="3762"/>
                  </a:lnTo>
                  <a:cubicBezTo>
                    <a:pt x="4443" y="3737"/>
                    <a:pt x="4463" y="3717"/>
                    <a:pt x="4488" y="3717"/>
                  </a:cubicBezTo>
                  <a:lnTo>
                    <a:pt x="4941" y="3717"/>
                  </a:lnTo>
                  <a:cubicBezTo>
                    <a:pt x="4966" y="3717"/>
                    <a:pt x="4987" y="3737"/>
                    <a:pt x="4987" y="3762"/>
                  </a:cubicBezTo>
                  <a:lnTo>
                    <a:pt x="4987" y="4216"/>
                  </a:lnTo>
                  <a:close/>
                  <a:moveTo>
                    <a:pt x="4987" y="3218"/>
                  </a:moveTo>
                  <a:cubicBezTo>
                    <a:pt x="4987" y="3243"/>
                    <a:pt x="4966" y="3264"/>
                    <a:pt x="4941" y="3264"/>
                  </a:cubicBezTo>
                  <a:lnTo>
                    <a:pt x="4488" y="3264"/>
                  </a:lnTo>
                  <a:cubicBezTo>
                    <a:pt x="4463" y="3264"/>
                    <a:pt x="4443" y="3243"/>
                    <a:pt x="4443" y="3218"/>
                  </a:cubicBezTo>
                  <a:lnTo>
                    <a:pt x="4443" y="2765"/>
                  </a:lnTo>
                  <a:cubicBezTo>
                    <a:pt x="4443" y="2740"/>
                    <a:pt x="4463" y="2720"/>
                    <a:pt x="4488" y="2720"/>
                  </a:cubicBezTo>
                  <a:lnTo>
                    <a:pt x="4941" y="2720"/>
                  </a:lnTo>
                  <a:cubicBezTo>
                    <a:pt x="4966" y="2720"/>
                    <a:pt x="4987" y="2740"/>
                    <a:pt x="4987" y="2765"/>
                  </a:cubicBezTo>
                  <a:lnTo>
                    <a:pt x="4987" y="3218"/>
                  </a:lnTo>
                  <a:close/>
                  <a:moveTo>
                    <a:pt x="5803" y="4216"/>
                  </a:moveTo>
                  <a:cubicBezTo>
                    <a:pt x="5803" y="4241"/>
                    <a:pt x="5782" y="4261"/>
                    <a:pt x="5757" y="4261"/>
                  </a:cubicBezTo>
                  <a:lnTo>
                    <a:pt x="5304" y="4261"/>
                  </a:lnTo>
                  <a:cubicBezTo>
                    <a:pt x="5279" y="4261"/>
                    <a:pt x="5259" y="4241"/>
                    <a:pt x="5259" y="4216"/>
                  </a:cubicBezTo>
                  <a:lnTo>
                    <a:pt x="5259" y="3762"/>
                  </a:lnTo>
                  <a:cubicBezTo>
                    <a:pt x="5259" y="3737"/>
                    <a:pt x="5279" y="3717"/>
                    <a:pt x="5304" y="3717"/>
                  </a:cubicBezTo>
                  <a:lnTo>
                    <a:pt x="5757" y="3717"/>
                  </a:lnTo>
                  <a:cubicBezTo>
                    <a:pt x="5782" y="3717"/>
                    <a:pt x="5803" y="3737"/>
                    <a:pt x="5803" y="3762"/>
                  </a:cubicBezTo>
                  <a:lnTo>
                    <a:pt x="5803" y="4216"/>
                  </a:lnTo>
                  <a:close/>
                  <a:moveTo>
                    <a:pt x="5803" y="3218"/>
                  </a:moveTo>
                  <a:cubicBezTo>
                    <a:pt x="5803" y="3243"/>
                    <a:pt x="5782" y="3264"/>
                    <a:pt x="5757" y="3264"/>
                  </a:cubicBezTo>
                  <a:lnTo>
                    <a:pt x="5304" y="3264"/>
                  </a:lnTo>
                  <a:cubicBezTo>
                    <a:pt x="5279" y="3264"/>
                    <a:pt x="5259" y="3243"/>
                    <a:pt x="5259" y="3218"/>
                  </a:cubicBezTo>
                  <a:lnTo>
                    <a:pt x="5259" y="2765"/>
                  </a:lnTo>
                  <a:cubicBezTo>
                    <a:pt x="5259" y="2740"/>
                    <a:pt x="5279" y="2720"/>
                    <a:pt x="5304" y="2720"/>
                  </a:cubicBezTo>
                  <a:lnTo>
                    <a:pt x="5757" y="2720"/>
                  </a:lnTo>
                  <a:cubicBezTo>
                    <a:pt x="5782" y="2720"/>
                    <a:pt x="5803" y="2740"/>
                    <a:pt x="5803" y="2765"/>
                  </a:cubicBezTo>
                  <a:lnTo>
                    <a:pt x="5803" y="32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EB888CC-C56E-4653-BE4F-19F13B30E8F0}"/>
                </a:ext>
              </a:extLst>
            </p:cNvPr>
            <p:cNvSpPr/>
            <p:nvPr/>
          </p:nvSpPr>
          <p:spPr bwMode="auto">
            <a:xfrm>
              <a:off x="2257883" y="3711153"/>
              <a:ext cx="354658" cy="312462"/>
            </a:xfrm>
            <a:custGeom>
              <a:avLst/>
              <a:gdLst>
                <a:gd name="T0" fmla="*/ 0 w 6165"/>
                <a:gd name="T1" fmla="*/ 90 h 5440"/>
                <a:gd name="T2" fmla="*/ 363 w 6165"/>
                <a:gd name="T3" fmla="*/ 4624 h 5440"/>
                <a:gd name="T4" fmla="*/ 907 w 6165"/>
                <a:gd name="T5" fmla="*/ 4624 h 5440"/>
                <a:gd name="T6" fmla="*/ 2901 w 6165"/>
                <a:gd name="T7" fmla="*/ 90 h 5440"/>
                <a:gd name="T8" fmla="*/ 861 w 6165"/>
                <a:gd name="T9" fmla="*/ 4080 h 5440"/>
                <a:gd name="T10" fmla="*/ 363 w 6165"/>
                <a:gd name="T11" fmla="*/ 3581 h 5440"/>
                <a:gd name="T12" fmla="*/ 907 w 6165"/>
                <a:gd name="T13" fmla="*/ 3581 h 5440"/>
                <a:gd name="T14" fmla="*/ 861 w 6165"/>
                <a:gd name="T15" fmla="*/ 3082 h 5440"/>
                <a:gd name="T16" fmla="*/ 363 w 6165"/>
                <a:gd name="T17" fmla="*/ 2584 h 5440"/>
                <a:gd name="T18" fmla="*/ 907 w 6165"/>
                <a:gd name="T19" fmla="*/ 2584 h 5440"/>
                <a:gd name="T20" fmla="*/ 861 w 6165"/>
                <a:gd name="T21" fmla="*/ 2085 h 5440"/>
                <a:gd name="T22" fmla="*/ 363 w 6165"/>
                <a:gd name="T23" fmla="*/ 1586 h 5440"/>
                <a:gd name="T24" fmla="*/ 907 w 6165"/>
                <a:gd name="T25" fmla="*/ 1586 h 5440"/>
                <a:gd name="T26" fmla="*/ 861 w 6165"/>
                <a:gd name="T27" fmla="*/ 1088 h 5440"/>
                <a:gd name="T28" fmla="*/ 363 w 6165"/>
                <a:gd name="T29" fmla="*/ 589 h 5440"/>
                <a:gd name="T30" fmla="*/ 907 w 6165"/>
                <a:gd name="T31" fmla="*/ 589 h 5440"/>
                <a:gd name="T32" fmla="*/ 1677 w 6165"/>
                <a:gd name="T33" fmla="*/ 4080 h 5440"/>
                <a:gd name="T34" fmla="*/ 1179 w 6165"/>
                <a:gd name="T35" fmla="*/ 3581 h 5440"/>
                <a:gd name="T36" fmla="*/ 1723 w 6165"/>
                <a:gd name="T37" fmla="*/ 3581 h 5440"/>
                <a:gd name="T38" fmla="*/ 1677 w 6165"/>
                <a:gd name="T39" fmla="*/ 3082 h 5440"/>
                <a:gd name="T40" fmla="*/ 1179 w 6165"/>
                <a:gd name="T41" fmla="*/ 2584 h 5440"/>
                <a:gd name="T42" fmla="*/ 1723 w 6165"/>
                <a:gd name="T43" fmla="*/ 2584 h 5440"/>
                <a:gd name="T44" fmla="*/ 1677 w 6165"/>
                <a:gd name="T45" fmla="*/ 2085 h 5440"/>
                <a:gd name="T46" fmla="*/ 1179 w 6165"/>
                <a:gd name="T47" fmla="*/ 1586 h 5440"/>
                <a:gd name="T48" fmla="*/ 1723 w 6165"/>
                <a:gd name="T49" fmla="*/ 1586 h 5440"/>
                <a:gd name="T50" fmla="*/ 1677 w 6165"/>
                <a:gd name="T51" fmla="*/ 1088 h 5440"/>
                <a:gd name="T52" fmla="*/ 1179 w 6165"/>
                <a:gd name="T53" fmla="*/ 589 h 5440"/>
                <a:gd name="T54" fmla="*/ 1723 w 6165"/>
                <a:gd name="T55" fmla="*/ 589 h 5440"/>
                <a:gd name="T56" fmla="*/ 2493 w 6165"/>
                <a:gd name="T57" fmla="*/ 4080 h 5440"/>
                <a:gd name="T58" fmla="*/ 1995 w 6165"/>
                <a:gd name="T59" fmla="*/ 3581 h 5440"/>
                <a:gd name="T60" fmla="*/ 2539 w 6165"/>
                <a:gd name="T61" fmla="*/ 3581 h 5440"/>
                <a:gd name="T62" fmla="*/ 2493 w 6165"/>
                <a:gd name="T63" fmla="*/ 3082 h 5440"/>
                <a:gd name="T64" fmla="*/ 1995 w 6165"/>
                <a:gd name="T65" fmla="*/ 2584 h 5440"/>
                <a:gd name="T66" fmla="*/ 2539 w 6165"/>
                <a:gd name="T67" fmla="*/ 2584 h 5440"/>
                <a:gd name="T68" fmla="*/ 2493 w 6165"/>
                <a:gd name="T69" fmla="*/ 2085 h 5440"/>
                <a:gd name="T70" fmla="*/ 1995 w 6165"/>
                <a:gd name="T71" fmla="*/ 1586 h 5440"/>
                <a:gd name="T72" fmla="*/ 2539 w 6165"/>
                <a:gd name="T73" fmla="*/ 1586 h 5440"/>
                <a:gd name="T74" fmla="*/ 2493 w 6165"/>
                <a:gd name="T75" fmla="*/ 1088 h 5440"/>
                <a:gd name="T76" fmla="*/ 1995 w 6165"/>
                <a:gd name="T77" fmla="*/ 589 h 5440"/>
                <a:gd name="T78" fmla="*/ 2539 w 6165"/>
                <a:gd name="T79" fmla="*/ 589 h 5440"/>
                <a:gd name="T80" fmla="*/ 3379 w 6165"/>
                <a:gd name="T81" fmla="*/ 1845 h 5440"/>
                <a:gd name="T82" fmla="*/ 3627 w 6165"/>
                <a:gd name="T83" fmla="*/ 5440 h 5440"/>
                <a:gd name="T84" fmla="*/ 4080 w 6165"/>
                <a:gd name="T85" fmla="*/ 4624 h 5440"/>
                <a:gd name="T86" fmla="*/ 6165 w 6165"/>
                <a:gd name="T87" fmla="*/ 5440 h 5440"/>
                <a:gd name="T88" fmla="*/ 4171 w 6165"/>
                <a:gd name="T89" fmla="*/ 4216 h 5440"/>
                <a:gd name="T90" fmla="*/ 3627 w 6165"/>
                <a:gd name="T91" fmla="*/ 4216 h 5440"/>
                <a:gd name="T92" fmla="*/ 4125 w 6165"/>
                <a:gd name="T93" fmla="*/ 3717 h 5440"/>
                <a:gd name="T94" fmla="*/ 4171 w 6165"/>
                <a:gd name="T95" fmla="*/ 3218 h 5440"/>
                <a:gd name="T96" fmla="*/ 3627 w 6165"/>
                <a:gd name="T97" fmla="*/ 3218 h 5440"/>
                <a:gd name="T98" fmla="*/ 4125 w 6165"/>
                <a:gd name="T99" fmla="*/ 2720 h 5440"/>
                <a:gd name="T100" fmla="*/ 4987 w 6165"/>
                <a:gd name="T101" fmla="*/ 4216 h 5440"/>
                <a:gd name="T102" fmla="*/ 4443 w 6165"/>
                <a:gd name="T103" fmla="*/ 4216 h 5440"/>
                <a:gd name="T104" fmla="*/ 4941 w 6165"/>
                <a:gd name="T105" fmla="*/ 3717 h 5440"/>
                <a:gd name="T106" fmla="*/ 4987 w 6165"/>
                <a:gd name="T107" fmla="*/ 3218 h 5440"/>
                <a:gd name="T108" fmla="*/ 4443 w 6165"/>
                <a:gd name="T109" fmla="*/ 3218 h 5440"/>
                <a:gd name="T110" fmla="*/ 4941 w 6165"/>
                <a:gd name="T111" fmla="*/ 2720 h 5440"/>
                <a:gd name="T112" fmla="*/ 5803 w 6165"/>
                <a:gd name="T113" fmla="*/ 4216 h 5440"/>
                <a:gd name="T114" fmla="*/ 5259 w 6165"/>
                <a:gd name="T115" fmla="*/ 4216 h 5440"/>
                <a:gd name="T116" fmla="*/ 5757 w 6165"/>
                <a:gd name="T117" fmla="*/ 3717 h 5440"/>
                <a:gd name="T118" fmla="*/ 5803 w 6165"/>
                <a:gd name="T119" fmla="*/ 3218 h 5440"/>
                <a:gd name="T120" fmla="*/ 5259 w 6165"/>
                <a:gd name="T121" fmla="*/ 3218 h 5440"/>
                <a:gd name="T122" fmla="*/ 5757 w 6165"/>
                <a:gd name="T123" fmla="*/ 2720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5" h="5440">
                  <a:moveTo>
                    <a:pt x="2811" y="0"/>
                  </a:moveTo>
                  <a:lnTo>
                    <a:pt x="91" y="0"/>
                  </a:lnTo>
                  <a:cubicBezTo>
                    <a:pt x="41" y="0"/>
                    <a:pt x="0" y="40"/>
                    <a:pt x="0" y="90"/>
                  </a:cubicBezTo>
                  <a:lnTo>
                    <a:pt x="0" y="5440"/>
                  </a:lnTo>
                  <a:lnTo>
                    <a:pt x="363" y="5440"/>
                  </a:lnTo>
                  <a:lnTo>
                    <a:pt x="363" y="4624"/>
                  </a:lnTo>
                  <a:cubicBezTo>
                    <a:pt x="363" y="4574"/>
                    <a:pt x="403" y="4533"/>
                    <a:pt x="453" y="4533"/>
                  </a:cubicBezTo>
                  <a:lnTo>
                    <a:pt x="816" y="4533"/>
                  </a:lnTo>
                  <a:cubicBezTo>
                    <a:pt x="866" y="4533"/>
                    <a:pt x="907" y="4574"/>
                    <a:pt x="907" y="4624"/>
                  </a:cubicBezTo>
                  <a:lnTo>
                    <a:pt x="907" y="5440"/>
                  </a:lnTo>
                  <a:lnTo>
                    <a:pt x="2901" y="5440"/>
                  </a:lnTo>
                  <a:lnTo>
                    <a:pt x="2901" y="90"/>
                  </a:lnTo>
                  <a:cubicBezTo>
                    <a:pt x="2901" y="40"/>
                    <a:pt x="2861" y="0"/>
                    <a:pt x="2811" y="0"/>
                  </a:cubicBezTo>
                  <a:close/>
                  <a:moveTo>
                    <a:pt x="907" y="4034"/>
                  </a:moveTo>
                  <a:cubicBezTo>
                    <a:pt x="907" y="4059"/>
                    <a:pt x="886" y="4080"/>
                    <a:pt x="861" y="4080"/>
                  </a:cubicBezTo>
                  <a:lnTo>
                    <a:pt x="408" y="4080"/>
                  </a:lnTo>
                  <a:cubicBezTo>
                    <a:pt x="383" y="4080"/>
                    <a:pt x="363" y="4059"/>
                    <a:pt x="363" y="4034"/>
                  </a:cubicBezTo>
                  <a:lnTo>
                    <a:pt x="363" y="3581"/>
                  </a:lnTo>
                  <a:cubicBezTo>
                    <a:pt x="363" y="3556"/>
                    <a:pt x="383" y="3536"/>
                    <a:pt x="408" y="3536"/>
                  </a:cubicBezTo>
                  <a:lnTo>
                    <a:pt x="861" y="3536"/>
                  </a:lnTo>
                  <a:cubicBezTo>
                    <a:pt x="886" y="3536"/>
                    <a:pt x="907" y="3556"/>
                    <a:pt x="907" y="3581"/>
                  </a:cubicBezTo>
                  <a:lnTo>
                    <a:pt x="907" y="4034"/>
                  </a:lnTo>
                  <a:close/>
                  <a:moveTo>
                    <a:pt x="907" y="3037"/>
                  </a:moveTo>
                  <a:cubicBezTo>
                    <a:pt x="907" y="3062"/>
                    <a:pt x="886" y="3082"/>
                    <a:pt x="861" y="3082"/>
                  </a:cubicBezTo>
                  <a:lnTo>
                    <a:pt x="408" y="3082"/>
                  </a:lnTo>
                  <a:cubicBezTo>
                    <a:pt x="383" y="3082"/>
                    <a:pt x="363" y="3062"/>
                    <a:pt x="363" y="3037"/>
                  </a:cubicBezTo>
                  <a:lnTo>
                    <a:pt x="363" y="2584"/>
                  </a:lnTo>
                  <a:cubicBezTo>
                    <a:pt x="363" y="2559"/>
                    <a:pt x="383" y="2538"/>
                    <a:pt x="408" y="2538"/>
                  </a:cubicBezTo>
                  <a:lnTo>
                    <a:pt x="861" y="2538"/>
                  </a:lnTo>
                  <a:cubicBezTo>
                    <a:pt x="886" y="2538"/>
                    <a:pt x="907" y="2559"/>
                    <a:pt x="907" y="2584"/>
                  </a:cubicBezTo>
                  <a:lnTo>
                    <a:pt x="907" y="3037"/>
                  </a:lnTo>
                  <a:close/>
                  <a:moveTo>
                    <a:pt x="907" y="2040"/>
                  </a:moveTo>
                  <a:cubicBezTo>
                    <a:pt x="907" y="2065"/>
                    <a:pt x="886" y="2085"/>
                    <a:pt x="861" y="2085"/>
                  </a:cubicBezTo>
                  <a:lnTo>
                    <a:pt x="408" y="2085"/>
                  </a:lnTo>
                  <a:cubicBezTo>
                    <a:pt x="383" y="2085"/>
                    <a:pt x="363" y="2065"/>
                    <a:pt x="363" y="2040"/>
                  </a:cubicBezTo>
                  <a:lnTo>
                    <a:pt x="363" y="1586"/>
                  </a:lnTo>
                  <a:cubicBezTo>
                    <a:pt x="363" y="1561"/>
                    <a:pt x="383" y="1541"/>
                    <a:pt x="408" y="1541"/>
                  </a:cubicBezTo>
                  <a:lnTo>
                    <a:pt x="861" y="1541"/>
                  </a:lnTo>
                  <a:cubicBezTo>
                    <a:pt x="886" y="1541"/>
                    <a:pt x="907" y="1561"/>
                    <a:pt x="907" y="1586"/>
                  </a:cubicBezTo>
                  <a:lnTo>
                    <a:pt x="907" y="2040"/>
                  </a:lnTo>
                  <a:close/>
                  <a:moveTo>
                    <a:pt x="907" y="1042"/>
                  </a:moveTo>
                  <a:cubicBezTo>
                    <a:pt x="907" y="1067"/>
                    <a:pt x="886" y="1088"/>
                    <a:pt x="861" y="1088"/>
                  </a:cubicBezTo>
                  <a:lnTo>
                    <a:pt x="408" y="1088"/>
                  </a:lnTo>
                  <a:cubicBezTo>
                    <a:pt x="383" y="1088"/>
                    <a:pt x="363" y="1067"/>
                    <a:pt x="363" y="1042"/>
                  </a:cubicBezTo>
                  <a:lnTo>
                    <a:pt x="363" y="589"/>
                  </a:lnTo>
                  <a:cubicBezTo>
                    <a:pt x="363" y="564"/>
                    <a:pt x="383" y="544"/>
                    <a:pt x="408" y="544"/>
                  </a:cubicBezTo>
                  <a:lnTo>
                    <a:pt x="861" y="544"/>
                  </a:lnTo>
                  <a:cubicBezTo>
                    <a:pt x="886" y="544"/>
                    <a:pt x="907" y="564"/>
                    <a:pt x="907" y="589"/>
                  </a:cubicBezTo>
                  <a:lnTo>
                    <a:pt x="907" y="1042"/>
                  </a:lnTo>
                  <a:close/>
                  <a:moveTo>
                    <a:pt x="1723" y="4034"/>
                  </a:moveTo>
                  <a:cubicBezTo>
                    <a:pt x="1723" y="4059"/>
                    <a:pt x="1702" y="4080"/>
                    <a:pt x="1677" y="4080"/>
                  </a:cubicBezTo>
                  <a:lnTo>
                    <a:pt x="1224" y="4080"/>
                  </a:lnTo>
                  <a:cubicBezTo>
                    <a:pt x="1199" y="4080"/>
                    <a:pt x="1179" y="4059"/>
                    <a:pt x="1179" y="4034"/>
                  </a:cubicBezTo>
                  <a:lnTo>
                    <a:pt x="1179" y="3581"/>
                  </a:lnTo>
                  <a:cubicBezTo>
                    <a:pt x="1179" y="3556"/>
                    <a:pt x="1199" y="3536"/>
                    <a:pt x="1224" y="3536"/>
                  </a:cubicBezTo>
                  <a:lnTo>
                    <a:pt x="1677" y="3536"/>
                  </a:lnTo>
                  <a:cubicBezTo>
                    <a:pt x="1702" y="3536"/>
                    <a:pt x="1723" y="3556"/>
                    <a:pt x="1723" y="3581"/>
                  </a:cubicBezTo>
                  <a:lnTo>
                    <a:pt x="1723" y="4034"/>
                  </a:lnTo>
                  <a:close/>
                  <a:moveTo>
                    <a:pt x="1723" y="3037"/>
                  </a:moveTo>
                  <a:cubicBezTo>
                    <a:pt x="1723" y="3062"/>
                    <a:pt x="1702" y="3082"/>
                    <a:pt x="1677" y="3082"/>
                  </a:cubicBezTo>
                  <a:lnTo>
                    <a:pt x="1224" y="3082"/>
                  </a:lnTo>
                  <a:cubicBezTo>
                    <a:pt x="1199" y="3082"/>
                    <a:pt x="1179" y="3062"/>
                    <a:pt x="1179" y="3037"/>
                  </a:cubicBezTo>
                  <a:lnTo>
                    <a:pt x="1179" y="2584"/>
                  </a:lnTo>
                  <a:cubicBezTo>
                    <a:pt x="1179" y="2559"/>
                    <a:pt x="1199" y="2538"/>
                    <a:pt x="1224" y="2538"/>
                  </a:cubicBezTo>
                  <a:lnTo>
                    <a:pt x="1677" y="2538"/>
                  </a:lnTo>
                  <a:cubicBezTo>
                    <a:pt x="1702" y="2538"/>
                    <a:pt x="1723" y="2559"/>
                    <a:pt x="1723" y="2584"/>
                  </a:cubicBezTo>
                  <a:lnTo>
                    <a:pt x="1723" y="3037"/>
                  </a:lnTo>
                  <a:close/>
                  <a:moveTo>
                    <a:pt x="1723" y="2040"/>
                  </a:moveTo>
                  <a:cubicBezTo>
                    <a:pt x="1723" y="2065"/>
                    <a:pt x="1702" y="2085"/>
                    <a:pt x="1677" y="2085"/>
                  </a:cubicBezTo>
                  <a:lnTo>
                    <a:pt x="1224" y="2085"/>
                  </a:lnTo>
                  <a:cubicBezTo>
                    <a:pt x="1199" y="2085"/>
                    <a:pt x="1179" y="2065"/>
                    <a:pt x="1179" y="2040"/>
                  </a:cubicBezTo>
                  <a:lnTo>
                    <a:pt x="1179" y="1586"/>
                  </a:lnTo>
                  <a:cubicBezTo>
                    <a:pt x="1179" y="1561"/>
                    <a:pt x="1199" y="1541"/>
                    <a:pt x="1224" y="1541"/>
                  </a:cubicBezTo>
                  <a:lnTo>
                    <a:pt x="1677" y="1541"/>
                  </a:lnTo>
                  <a:cubicBezTo>
                    <a:pt x="1702" y="1541"/>
                    <a:pt x="1723" y="1561"/>
                    <a:pt x="1723" y="1586"/>
                  </a:cubicBezTo>
                  <a:lnTo>
                    <a:pt x="1723" y="2040"/>
                  </a:lnTo>
                  <a:close/>
                  <a:moveTo>
                    <a:pt x="1723" y="1042"/>
                  </a:moveTo>
                  <a:cubicBezTo>
                    <a:pt x="1723" y="1067"/>
                    <a:pt x="1702" y="1088"/>
                    <a:pt x="1677" y="1088"/>
                  </a:cubicBezTo>
                  <a:lnTo>
                    <a:pt x="1224" y="1088"/>
                  </a:lnTo>
                  <a:cubicBezTo>
                    <a:pt x="1199" y="1088"/>
                    <a:pt x="1179" y="1067"/>
                    <a:pt x="1179" y="1042"/>
                  </a:cubicBezTo>
                  <a:lnTo>
                    <a:pt x="1179" y="589"/>
                  </a:lnTo>
                  <a:cubicBezTo>
                    <a:pt x="1179" y="564"/>
                    <a:pt x="1199" y="544"/>
                    <a:pt x="1224" y="544"/>
                  </a:cubicBezTo>
                  <a:lnTo>
                    <a:pt x="1677" y="544"/>
                  </a:lnTo>
                  <a:cubicBezTo>
                    <a:pt x="1702" y="544"/>
                    <a:pt x="1723" y="564"/>
                    <a:pt x="1723" y="589"/>
                  </a:cubicBezTo>
                  <a:lnTo>
                    <a:pt x="1723" y="1042"/>
                  </a:lnTo>
                  <a:close/>
                  <a:moveTo>
                    <a:pt x="2539" y="4034"/>
                  </a:moveTo>
                  <a:cubicBezTo>
                    <a:pt x="2539" y="4059"/>
                    <a:pt x="2518" y="4080"/>
                    <a:pt x="2493" y="4080"/>
                  </a:cubicBezTo>
                  <a:lnTo>
                    <a:pt x="2040" y="4080"/>
                  </a:lnTo>
                  <a:cubicBezTo>
                    <a:pt x="2015" y="4080"/>
                    <a:pt x="1995" y="4059"/>
                    <a:pt x="1995" y="4034"/>
                  </a:cubicBezTo>
                  <a:lnTo>
                    <a:pt x="1995" y="3581"/>
                  </a:lnTo>
                  <a:cubicBezTo>
                    <a:pt x="1995" y="3556"/>
                    <a:pt x="2015" y="3536"/>
                    <a:pt x="2040" y="3536"/>
                  </a:cubicBezTo>
                  <a:lnTo>
                    <a:pt x="2493" y="3536"/>
                  </a:lnTo>
                  <a:cubicBezTo>
                    <a:pt x="2518" y="3536"/>
                    <a:pt x="2539" y="3556"/>
                    <a:pt x="2539" y="3581"/>
                  </a:cubicBezTo>
                  <a:lnTo>
                    <a:pt x="2539" y="4034"/>
                  </a:lnTo>
                  <a:close/>
                  <a:moveTo>
                    <a:pt x="2539" y="3037"/>
                  </a:moveTo>
                  <a:cubicBezTo>
                    <a:pt x="2539" y="3062"/>
                    <a:pt x="2518" y="3082"/>
                    <a:pt x="2493" y="3082"/>
                  </a:cubicBezTo>
                  <a:lnTo>
                    <a:pt x="2040" y="3082"/>
                  </a:lnTo>
                  <a:cubicBezTo>
                    <a:pt x="2015" y="3082"/>
                    <a:pt x="1995" y="3062"/>
                    <a:pt x="1995" y="3037"/>
                  </a:cubicBezTo>
                  <a:lnTo>
                    <a:pt x="1995" y="2584"/>
                  </a:lnTo>
                  <a:cubicBezTo>
                    <a:pt x="1995" y="2559"/>
                    <a:pt x="2015" y="2538"/>
                    <a:pt x="2040" y="2538"/>
                  </a:cubicBezTo>
                  <a:lnTo>
                    <a:pt x="2493" y="2538"/>
                  </a:lnTo>
                  <a:cubicBezTo>
                    <a:pt x="2518" y="2538"/>
                    <a:pt x="2539" y="2559"/>
                    <a:pt x="2539" y="2584"/>
                  </a:cubicBezTo>
                  <a:lnTo>
                    <a:pt x="2539" y="3037"/>
                  </a:lnTo>
                  <a:close/>
                  <a:moveTo>
                    <a:pt x="2539" y="2040"/>
                  </a:moveTo>
                  <a:cubicBezTo>
                    <a:pt x="2539" y="2065"/>
                    <a:pt x="2518" y="2085"/>
                    <a:pt x="2493" y="2085"/>
                  </a:cubicBezTo>
                  <a:lnTo>
                    <a:pt x="2040" y="2085"/>
                  </a:lnTo>
                  <a:cubicBezTo>
                    <a:pt x="2015" y="2085"/>
                    <a:pt x="1995" y="2065"/>
                    <a:pt x="1995" y="2040"/>
                  </a:cubicBezTo>
                  <a:lnTo>
                    <a:pt x="1995" y="1586"/>
                  </a:lnTo>
                  <a:cubicBezTo>
                    <a:pt x="1995" y="1561"/>
                    <a:pt x="2015" y="1541"/>
                    <a:pt x="2040" y="1541"/>
                  </a:cubicBezTo>
                  <a:lnTo>
                    <a:pt x="2493" y="1541"/>
                  </a:lnTo>
                  <a:cubicBezTo>
                    <a:pt x="2518" y="1541"/>
                    <a:pt x="2539" y="1561"/>
                    <a:pt x="2539" y="1586"/>
                  </a:cubicBezTo>
                  <a:lnTo>
                    <a:pt x="2539" y="2040"/>
                  </a:lnTo>
                  <a:close/>
                  <a:moveTo>
                    <a:pt x="2539" y="1042"/>
                  </a:moveTo>
                  <a:cubicBezTo>
                    <a:pt x="2539" y="1067"/>
                    <a:pt x="2518" y="1088"/>
                    <a:pt x="2493" y="1088"/>
                  </a:cubicBezTo>
                  <a:lnTo>
                    <a:pt x="2040" y="1088"/>
                  </a:lnTo>
                  <a:cubicBezTo>
                    <a:pt x="2015" y="1088"/>
                    <a:pt x="1995" y="1067"/>
                    <a:pt x="1995" y="1042"/>
                  </a:cubicBezTo>
                  <a:lnTo>
                    <a:pt x="1995" y="589"/>
                  </a:lnTo>
                  <a:cubicBezTo>
                    <a:pt x="1995" y="564"/>
                    <a:pt x="2015" y="544"/>
                    <a:pt x="2040" y="544"/>
                  </a:cubicBezTo>
                  <a:lnTo>
                    <a:pt x="2493" y="544"/>
                  </a:lnTo>
                  <a:cubicBezTo>
                    <a:pt x="2518" y="544"/>
                    <a:pt x="2539" y="564"/>
                    <a:pt x="2539" y="589"/>
                  </a:cubicBezTo>
                  <a:lnTo>
                    <a:pt x="2539" y="1042"/>
                  </a:lnTo>
                  <a:close/>
                  <a:moveTo>
                    <a:pt x="6099" y="2610"/>
                  </a:moveTo>
                  <a:lnTo>
                    <a:pt x="3379" y="1845"/>
                  </a:lnTo>
                  <a:cubicBezTo>
                    <a:pt x="3321" y="1829"/>
                    <a:pt x="3264" y="1873"/>
                    <a:pt x="3264" y="1933"/>
                  </a:cubicBezTo>
                  <a:lnTo>
                    <a:pt x="3264" y="5440"/>
                  </a:lnTo>
                  <a:lnTo>
                    <a:pt x="3627" y="5440"/>
                  </a:lnTo>
                  <a:lnTo>
                    <a:pt x="3627" y="4714"/>
                  </a:lnTo>
                  <a:cubicBezTo>
                    <a:pt x="3627" y="4664"/>
                    <a:pt x="3667" y="4624"/>
                    <a:pt x="3717" y="4624"/>
                  </a:cubicBezTo>
                  <a:lnTo>
                    <a:pt x="4080" y="4624"/>
                  </a:lnTo>
                  <a:cubicBezTo>
                    <a:pt x="4130" y="4624"/>
                    <a:pt x="4171" y="4664"/>
                    <a:pt x="4171" y="4714"/>
                  </a:cubicBezTo>
                  <a:lnTo>
                    <a:pt x="4171" y="5440"/>
                  </a:lnTo>
                  <a:lnTo>
                    <a:pt x="6165" y="5440"/>
                  </a:lnTo>
                  <a:lnTo>
                    <a:pt x="6165" y="2698"/>
                  </a:lnTo>
                  <a:cubicBezTo>
                    <a:pt x="6165" y="2657"/>
                    <a:pt x="6138" y="2621"/>
                    <a:pt x="6099" y="2610"/>
                  </a:cubicBezTo>
                  <a:close/>
                  <a:moveTo>
                    <a:pt x="4171" y="4216"/>
                  </a:moveTo>
                  <a:cubicBezTo>
                    <a:pt x="4171" y="4241"/>
                    <a:pt x="4150" y="4261"/>
                    <a:pt x="4125" y="4261"/>
                  </a:cubicBezTo>
                  <a:lnTo>
                    <a:pt x="3672" y="4261"/>
                  </a:lnTo>
                  <a:cubicBezTo>
                    <a:pt x="3647" y="4261"/>
                    <a:pt x="3627" y="4241"/>
                    <a:pt x="3627" y="4216"/>
                  </a:cubicBezTo>
                  <a:lnTo>
                    <a:pt x="3627" y="3762"/>
                  </a:lnTo>
                  <a:cubicBezTo>
                    <a:pt x="3627" y="3737"/>
                    <a:pt x="3647" y="3717"/>
                    <a:pt x="3672" y="3717"/>
                  </a:cubicBezTo>
                  <a:lnTo>
                    <a:pt x="4125" y="3717"/>
                  </a:lnTo>
                  <a:cubicBezTo>
                    <a:pt x="4150" y="3717"/>
                    <a:pt x="4171" y="3737"/>
                    <a:pt x="4171" y="3762"/>
                  </a:cubicBezTo>
                  <a:lnTo>
                    <a:pt x="4171" y="4216"/>
                  </a:lnTo>
                  <a:close/>
                  <a:moveTo>
                    <a:pt x="4171" y="3218"/>
                  </a:moveTo>
                  <a:cubicBezTo>
                    <a:pt x="4171" y="3243"/>
                    <a:pt x="4150" y="3264"/>
                    <a:pt x="4125" y="3264"/>
                  </a:cubicBezTo>
                  <a:lnTo>
                    <a:pt x="3672" y="3264"/>
                  </a:lnTo>
                  <a:cubicBezTo>
                    <a:pt x="3647" y="3264"/>
                    <a:pt x="3627" y="3243"/>
                    <a:pt x="3627" y="3218"/>
                  </a:cubicBezTo>
                  <a:lnTo>
                    <a:pt x="3627" y="2765"/>
                  </a:lnTo>
                  <a:cubicBezTo>
                    <a:pt x="3627" y="2740"/>
                    <a:pt x="3647" y="2720"/>
                    <a:pt x="3672" y="2720"/>
                  </a:cubicBezTo>
                  <a:lnTo>
                    <a:pt x="4125" y="2720"/>
                  </a:lnTo>
                  <a:cubicBezTo>
                    <a:pt x="4150" y="2720"/>
                    <a:pt x="4171" y="2740"/>
                    <a:pt x="4171" y="2765"/>
                  </a:cubicBezTo>
                  <a:lnTo>
                    <a:pt x="4171" y="3218"/>
                  </a:lnTo>
                  <a:close/>
                  <a:moveTo>
                    <a:pt x="4987" y="4216"/>
                  </a:moveTo>
                  <a:cubicBezTo>
                    <a:pt x="4987" y="4241"/>
                    <a:pt x="4966" y="4261"/>
                    <a:pt x="4941" y="4261"/>
                  </a:cubicBezTo>
                  <a:lnTo>
                    <a:pt x="4488" y="4261"/>
                  </a:lnTo>
                  <a:cubicBezTo>
                    <a:pt x="4463" y="4261"/>
                    <a:pt x="4443" y="4241"/>
                    <a:pt x="4443" y="4216"/>
                  </a:cubicBezTo>
                  <a:lnTo>
                    <a:pt x="4443" y="3762"/>
                  </a:lnTo>
                  <a:cubicBezTo>
                    <a:pt x="4443" y="3737"/>
                    <a:pt x="4463" y="3717"/>
                    <a:pt x="4488" y="3717"/>
                  </a:cubicBezTo>
                  <a:lnTo>
                    <a:pt x="4941" y="3717"/>
                  </a:lnTo>
                  <a:cubicBezTo>
                    <a:pt x="4966" y="3717"/>
                    <a:pt x="4987" y="3737"/>
                    <a:pt x="4987" y="3762"/>
                  </a:cubicBezTo>
                  <a:lnTo>
                    <a:pt x="4987" y="4216"/>
                  </a:lnTo>
                  <a:close/>
                  <a:moveTo>
                    <a:pt x="4987" y="3218"/>
                  </a:moveTo>
                  <a:cubicBezTo>
                    <a:pt x="4987" y="3243"/>
                    <a:pt x="4966" y="3264"/>
                    <a:pt x="4941" y="3264"/>
                  </a:cubicBezTo>
                  <a:lnTo>
                    <a:pt x="4488" y="3264"/>
                  </a:lnTo>
                  <a:cubicBezTo>
                    <a:pt x="4463" y="3264"/>
                    <a:pt x="4443" y="3243"/>
                    <a:pt x="4443" y="3218"/>
                  </a:cubicBezTo>
                  <a:lnTo>
                    <a:pt x="4443" y="2765"/>
                  </a:lnTo>
                  <a:cubicBezTo>
                    <a:pt x="4443" y="2740"/>
                    <a:pt x="4463" y="2720"/>
                    <a:pt x="4488" y="2720"/>
                  </a:cubicBezTo>
                  <a:lnTo>
                    <a:pt x="4941" y="2720"/>
                  </a:lnTo>
                  <a:cubicBezTo>
                    <a:pt x="4966" y="2720"/>
                    <a:pt x="4987" y="2740"/>
                    <a:pt x="4987" y="2765"/>
                  </a:cubicBezTo>
                  <a:lnTo>
                    <a:pt x="4987" y="3218"/>
                  </a:lnTo>
                  <a:close/>
                  <a:moveTo>
                    <a:pt x="5803" y="4216"/>
                  </a:moveTo>
                  <a:cubicBezTo>
                    <a:pt x="5803" y="4241"/>
                    <a:pt x="5782" y="4261"/>
                    <a:pt x="5757" y="4261"/>
                  </a:cubicBezTo>
                  <a:lnTo>
                    <a:pt x="5304" y="4261"/>
                  </a:lnTo>
                  <a:cubicBezTo>
                    <a:pt x="5279" y="4261"/>
                    <a:pt x="5259" y="4241"/>
                    <a:pt x="5259" y="4216"/>
                  </a:cubicBezTo>
                  <a:lnTo>
                    <a:pt x="5259" y="3762"/>
                  </a:lnTo>
                  <a:cubicBezTo>
                    <a:pt x="5259" y="3737"/>
                    <a:pt x="5279" y="3717"/>
                    <a:pt x="5304" y="3717"/>
                  </a:cubicBezTo>
                  <a:lnTo>
                    <a:pt x="5757" y="3717"/>
                  </a:lnTo>
                  <a:cubicBezTo>
                    <a:pt x="5782" y="3717"/>
                    <a:pt x="5803" y="3737"/>
                    <a:pt x="5803" y="3762"/>
                  </a:cubicBezTo>
                  <a:lnTo>
                    <a:pt x="5803" y="4216"/>
                  </a:lnTo>
                  <a:close/>
                  <a:moveTo>
                    <a:pt x="5803" y="3218"/>
                  </a:moveTo>
                  <a:cubicBezTo>
                    <a:pt x="5803" y="3243"/>
                    <a:pt x="5782" y="3264"/>
                    <a:pt x="5757" y="3264"/>
                  </a:cubicBezTo>
                  <a:lnTo>
                    <a:pt x="5304" y="3264"/>
                  </a:lnTo>
                  <a:cubicBezTo>
                    <a:pt x="5279" y="3264"/>
                    <a:pt x="5259" y="3243"/>
                    <a:pt x="5259" y="3218"/>
                  </a:cubicBezTo>
                  <a:lnTo>
                    <a:pt x="5259" y="2765"/>
                  </a:lnTo>
                  <a:cubicBezTo>
                    <a:pt x="5259" y="2740"/>
                    <a:pt x="5279" y="2720"/>
                    <a:pt x="5304" y="2720"/>
                  </a:cubicBezTo>
                  <a:lnTo>
                    <a:pt x="5757" y="2720"/>
                  </a:lnTo>
                  <a:cubicBezTo>
                    <a:pt x="5782" y="2720"/>
                    <a:pt x="5803" y="2740"/>
                    <a:pt x="5803" y="2765"/>
                  </a:cubicBezTo>
                  <a:lnTo>
                    <a:pt x="5803" y="32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CB043247-2274-4954-AEDB-0A4796803F81}"/>
                </a:ext>
              </a:extLst>
            </p:cNvPr>
            <p:cNvSpPr/>
            <p:nvPr/>
          </p:nvSpPr>
          <p:spPr bwMode="auto">
            <a:xfrm>
              <a:off x="5915127" y="3711153"/>
              <a:ext cx="354658" cy="312462"/>
            </a:xfrm>
            <a:custGeom>
              <a:avLst/>
              <a:gdLst>
                <a:gd name="T0" fmla="*/ 0 w 6165"/>
                <a:gd name="T1" fmla="*/ 90 h 5440"/>
                <a:gd name="T2" fmla="*/ 363 w 6165"/>
                <a:gd name="T3" fmla="*/ 4624 h 5440"/>
                <a:gd name="T4" fmla="*/ 907 w 6165"/>
                <a:gd name="T5" fmla="*/ 4624 h 5440"/>
                <a:gd name="T6" fmla="*/ 2901 w 6165"/>
                <a:gd name="T7" fmla="*/ 90 h 5440"/>
                <a:gd name="T8" fmla="*/ 861 w 6165"/>
                <a:gd name="T9" fmla="*/ 4080 h 5440"/>
                <a:gd name="T10" fmla="*/ 363 w 6165"/>
                <a:gd name="T11" fmla="*/ 3581 h 5440"/>
                <a:gd name="T12" fmla="*/ 907 w 6165"/>
                <a:gd name="T13" fmla="*/ 3581 h 5440"/>
                <a:gd name="T14" fmla="*/ 861 w 6165"/>
                <a:gd name="T15" fmla="*/ 3082 h 5440"/>
                <a:gd name="T16" fmla="*/ 363 w 6165"/>
                <a:gd name="T17" fmla="*/ 2584 h 5440"/>
                <a:gd name="T18" fmla="*/ 907 w 6165"/>
                <a:gd name="T19" fmla="*/ 2584 h 5440"/>
                <a:gd name="T20" fmla="*/ 861 w 6165"/>
                <a:gd name="T21" fmla="*/ 2085 h 5440"/>
                <a:gd name="T22" fmla="*/ 363 w 6165"/>
                <a:gd name="T23" fmla="*/ 1586 h 5440"/>
                <a:gd name="T24" fmla="*/ 907 w 6165"/>
                <a:gd name="T25" fmla="*/ 1586 h 5440"/>
                <a:gd name="T26" fmla="*/ 861 w 6165"/>
                <a:gd name="T27" fmla="*/ 1088 h 5440"/>
                <a:gd name="T28" fmla="*/ 363 w 6165"/>
                <a:gd name="T29" fmla="*/ 589 h 5440"/>
                <a:gd name="T30" fmla="*/ 907 w 6165"/>
                <a:gd name="T31" fmla="*/ 589 h 5440"/>
                <a:gd name="T32" fmla="*/ 1677 w 6165"/>
                <a:gd name="T33" fmla="*/ 4080 h 5440"/>
                <a:gd name="T34" fmla="*/ 1179 w 6165"/>
                <a:gd name="T35" fmla="*/ 3581 h 5440"/>
                <a:gd name="T36" fmla="*/ 1723 w 6165"/>
                <a:gd name="T37" fmla="*/ 3581 h 5440"/>
                <a:gd name="T38" fmla="*/ 1677 w 6165"/>
                <a:gd name="T39" fmla="*/ 3082 h 5440"/>
                <a:gd name="T40" fmla="*/ 1179 w 6165"/>
                <a:gd name="T41" fmla="*/ 2584 h 5440"/>
                <a:gd name="T42" fmla="*/ 1723 w 6165"/>
                <a:gd name="T43" fmla="*/ 2584 h 5440"/>
                <a:gd name="T44" fmla="*/ 1677 w 6165"/>
                <a:gd name="T45" fmla="*/ 2085 h 5440"/>
                <a:gd name="T46" fmla="*/ 1179 w 6165"/>
                <a:gd name="T47" fmla="*/ 1586 h 5440"/>
                <a:gd name="T48" fmla="*/ 1723 w 6165"/>
                <a:gd name="T49" fmla="*/ 1586 h 5440"/>
                <a:gd name="T50" fmla="*/ 1677 w 6165"/>
                <a:gd name="T51" fmla="*/ 1088 h 5440"/>
                <a:gd name="T52" fmla="*/ 1179 w 6165"/>
                <a:gd name="T53" fmla="*/ 589 h 5440"/>
                <a:gd name="T54" fmla="*/ 1723 w 6165"/>
                <a:gd name="T55" fmla="*/ 589 h 5440"/>
                <a:gd name="T56" fmla="*/ 2493 w 6165"/>
                <a:gd name="T57" fmla="*/ 4080 h 5440"/>
                <a:gd name="T58" fmla="*/ 1995 w 6165"/>
                <a:gd name="T59" fmla="*/ 3581 h 5440"/>
                <a:gd name="T60" fmla="*/ 2539 w 6165"/>
                <a:gd name="T61" fmla="*/ 3581 h 5440"/>
                <a:gd name="T62" fmla="*/ 2493 w 6165"/>
                <a:gd name="T63" fmla="*/ 3082 h 5440"/>
                <a:gd name="T64" fmla="*/ 1995 w 6165"/>
                <a:gd name="T65" fmla="*/ 2584 h 5440"/>
                <a:gd name="T66" fmla="*/ 2539 w 6165"/>
                <a:gd name="T67" fmla="*/ 2584 h 5440"/>
                <a:gd name="T68" fmla="*/ 2493 w 6165"/>
                <a:gd name="T69" fmla="*/ 2085 h 5440"/>
                <a:gd name="T70" fmla="*/ 1995 w 6165"/>
                <a:gd name="T71" fmla="*/ 1586 h 5440"/>
                <a:gd name="T72" fmla="*/ 2539 w 6165"/>
                <a:gd name="T73" fmla="*/ 1586 h 5440"/>
                <a:gd name="T74" fmla="*/ 2493 w 6165"/>
                <a:gd name="T75" fmla="*/ 1088 h 5440"/>
                <a:gd name="T76" fmla="*/ 1995 w 6165"/>
                <a:gd name="T77" fmla="*/ 589 h 5440"/>
                <a:gd name="T78" fmla="*/ 2539 w 6165"/>
                <a:gd name="T79" fmla="*/ 589 h 5440"/>
                <a:gd name="T80" fmla="*/ 3379 w 6165"/>
                <a:gd name="T81" fmla="*/ 1845 h 5440"/>
                <a:gd name="T82" fmla="*/ 3627 w 6165"/>
                <a:gd name="T83" fmla="*/ 5440 h 5440"/>
                <a:gd name="T84" fmla="*/ 4080 w 6165"/>
                <a:gd name="T85" fmla="*/ 4624 h 5440"/>
                <a:gd name="T86" fmla="*/ 6165 w 6165"/>
                <a:gd name="T87" fmla="*/ 5440 h 5440"/>
                <a:gd name="T88" fmla="*/ 4171 w 6165"/>
                <a:gd name="T89" fmla="*/ 4216 h 5440"/>
                <a:gd name="T90" fmla="*/ 3627 w 6165"/>
                <a:gd name="T91" fmla="*/ 4216 h 5440"/>
                <a:gd name="T92" fmla="*/ 4125 w 6165"/>
                <a:gd name="T93" fmla="*/ 3717 h 5440"/>
                <a:gd name="T94" fmla="*/ 4171 w 6165"/>
                <a:gd name="T95" fmla="*/ 3218 h 5440"/>
                <a:gd name="T96" fmla="*/ 3627 w 6165"/>
                <a:gd name="T97" fmla="*/ 3218 h 5440"/>
                <a:gd name="T98" fmla="*/ 4125 w 6165"/>
                <a:gd name="T99" fmla="*/ 2720 h 5440"/>
                <a:gd name="T100" fmla="*/ 4987 w 6165"/>
                <a:gd name="T101" fmla="*/ 4216 h 5440"/>
                <a:gd name="T102" fmla="*/ 4443 w 6165"/>
                <a:gd name="T103" fmla="*/ 4216 h 5440"/>
                <a:gd name="T104" fmla="*/ 4941 w 6165"/>
                <a:gd name="T105" fmla="*/ 3717 h 5440"/>
                <a:gd name="T106" fmla="*/ 4987 w 6165"/>
                <a:gd name="T107" fmla="*/ 3218 h 5440"/>
                <a:gd name="T108" fmla="*/ 4443 w 6165"/>
                <a:gd name="T109" fmla="*/ 3218 h 5440"/>
                <a:gd name="T110" fmla="*/ 4941 w 6165"/>
                <a:gd name="T111" fmla="*/ 2720 h 5440"/>
                <a:gd name="T112" fmla="*/ 5803 w 6165"/>
                <a:gd name="T113" fmla="*/ 4216 h 5440"/>
                <a:gd name="T114" fmla="*/ 5259 w 6165"/>
                <a:gd name="T115" fmla="*/ 4216 h 5440"/>
                <a:gd name="T116" fmla="*/ 5757 w 6165"/>
                <a:gd name="T117" fmla="*/ 3717 h 5440"/>
                <a:gd name="T118" fmla="*/ 5803 w 6165"/>
                <a:gd name="T119" fmla="*/ 3218 h 5440"/>
                <a:gd name="T120" fmla="*/ 5259 w 6165"/>
                <a:gd name="T121" fmla="*/ 3218 h 5440"/>
                <a:gd name="T122" fmla="*/ 5757 w 6165"/>
                <a:gd name="T123" fmla="*/ 2720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5" h="5440">
                  <a:moveTo>
                    <a:pt x="2811" y="0"/>
                  </a:moveTo>
                  <a:lnTo>
                    <a:pt x="91" y="0"/>
                  </a:lnTo>
                  <a:cubicBezTo>
                    <a:pt x="41" y="0"/>
                    <a:pt x="0" y="40"/>
                    <a:pt x="0" y="90"/>
                  </a:cubicBezTo>
                  <a:lnTo>
                    <a:pt x="0" y="5440"/>
                  </a:lnTo>
                  <a:lnTo>
                    <a:pt x="363" y="5440"/>
                  </a:lnTo>
                  <a:lnTo>
                    <a:pt x="363" y="4624"/>
                  </a:lnTo>
                  <a:cubicBezTo>
                    <a:pt x="363" y="4574"/>
                    <a:pt x="403" y="4533"/>
                    <a:pt x="453" y="4533"/>
                  </a:cubicBezTo>
                  <a:lnTo>
                    <a:pt x="816" y="4533"/>
                  </a:lnTo>
                  <a:cubicBezTo>
                    <a:pt x="866" y="4533"/>
                    <a:pt x="907" y="4574"/>
                    <a:pt x="907" y="4624"/>
                  </a:cubicBezTo>
                  <a:lnTo>
                    <a:pt x="907" y="5440"/>
                  </a:lnTo>
                  <a:lnTo>
                    <a:pt x="2901" y="5440"/>
                  </a:lnTo>
                  <a:lnTo>
                    <a:pt x="2901" y="90"/>
                  </a:lnTo>
                  <a:cubicBezTo>
                    <a:pt x="2901" y="40"/>
                    <a:pt x="2861" y="0"/>
                    <a:pt x="2811" y="0"/>
                  </a:cubicBezTo>
                  <a:close/>
                  <a:moveTo>
                    <a:pt x="907" y="4034"/>
                  </a:moveTo>
                  <a:cubicBezTo>
                    <a:pt x="907" y="4059"/>
                    <a:pt x="886" y="4080"/>
                    <a:pt x="861" y="4080"/>
                  </a:cubicBezTo>
                  <a:lnTo>
                    <a:pt x="408" y="4080"/>
                  </a:lnTo>
                  <a:cubicBezTo>
                    <a:pt x="383" y="4080"/>
                    <a:pt x="363" y="4059"/>
                    <a:pt x="363" y="4034"/>
                  </a:cubicBezTo>
                  <a:lnTo>
                    <a:pt x="363" y="3581"/>
                  </a:lnTo>
                  <a:cubicBezTo>
                    <a:pt x="363" y="3556"/>
                    <a:pt x="383" y="3536"/>
                    <a:pt x="408" y="3536"/>
                  </a:cubicBezTo>
                  <a:lnTo>
                    <a:pt x="861" y="3536"/>
                  </a:lnTo>
                  <a:cubicBezTo>
                    <a:pt x="886" y="3536"/>
                    <a:pt x="907" y="3556"/>
                    <a:pt x="907" y="3581"/>
                  </a:cubicBezTo>
                  <a:lnTo>
                    <a:pt x="907" y="4034"/>
                  </a:lnTo>
                  <a:close/>
                  <a:moveTo>
                    <a:pt x="907" y="3037"/>
                  </a:moveTo>
                  <a:cubicBezTo>
                    <a:pt x="907" y="3062"/>
                    <a:pt x="886" y="3082"/>
                    <a:pt x="861" y="3082"/>
                  </a:cubicBezTo>
                  <a:lnTo>
                    <a:pt x="408" y="3082"/>
                  </a:lnTo>
                  <a:cubicBezTo>
                    <a:pt x="383" y="3082"/>
                    <a:pt x="363" y="3062"/>
                    <a:pt x="363" y="3037"/>
                  </a:cubicBezTo>
                  <a:lnTo>
                    <a:pt x="363" y="2584"/>
                  </a:lnTo>
                  <a:cubicBezTo>
                    <a:pt x="363" y="2559"/>
                    <a:pt x="383" y="2538"/>
                    <a:pt x="408" y="2538"/>
                  </a:cubicBezTo>
                  <a:lnTo>
                    <a:pt x="861" y="2538"/>
                  </a:lnTo>
                  <a:cubicBezTo>
                    <a:pt x="886" y="2538"/>
                    <a:pt x="907" y="2559"/>
                    <a:pt x="907" y="2584"/>
                  </a:cubicBezTo>
                  <a:lnTo>
                    <a:pt x="907" y="3037"/>
                  </a:lnTo>
                  <a:close/>
                  <a:moveTo>
                    <a:pt x="907" y="2040"/>
                  </a:moveTo>
                  <a:cubicBezTo>
                    <a:pt x="907" y="2065"/>
                    <a:pt x="886" y="2085"/>
                    <a:pt x="861" y="2085"/>
                  </a:cubicBezTo>
                  <a:lnTo>
                    <a:pt x="408" y="2085"/>
                  </a:lnTo>
                  <a:cubicBezTo>
                    <a:pt x="383" y="2085"/>
                    <a:pt x="363" y="2065"/>
                    <a:pt x="363" y="2040"/>
                  </a:cubicBezTo>
                  <a:lnTo>
                    <a:pt x="363" y="1586"/>
                  </a:lnTo>
                  <a:cubicBezTo>
                    <a:pt x="363" y="1561"/>
                    <a:pt x="383" y="1541"/>
                    <a:pt x="408" y="1541"/>
                  </a:cubicBezTo>
                  <a:lnTo>
                    <a:pt x="861" y="1541"/>
                  </a:lnTo>
                  <a:cubicBezTo>
                    <a:pt x="886" y="1541"/>
                    <a:pt x="907" y="1561"/>
                    <a:pt x="907" y="1586"/>
                  </a:cubicBezTo>
                  <a:lnTo>
                    <a:pt x="907" y="2040"/>
                  </a:lnTo>
                  <a:close/>
                  <a:moveTo>
                    <a:pt x="907" y="1042"/>
                  </a:moveTo>
                  <a:cubicBezTo>
                    <a:pt x="907" y="1067"/>
                    <a:pt x="886" y="1088"/>
                    <a:pt x="861" y="1088"/>
                  </a:cubicBezTo>
                  <a:lnTo>
                    <a:pt x="408" y="1088"/>
                  </a:lnTo>
                  <a:cubicBezTo>
                    <a:pt x="383" y="1088"/>
                    <a:pt x="363" y="1067"/>
                    <a:pt x="363" y="1042"/>
                  </a:cubicBezTo>
                  <a:lnTo>
                    <a:pt x="363" y="589"/>
                  </a:lnTo>
                  <a:cubicBezTo>
                    <a:pt x="363" y="564"/>
                    <a:pt x="383" y="544"/>
                    <a:pt x="408" y="544"/>
                  </a:cubicBezTo>
                  <a:lnTo>
                    <a:pt x="861" y="544"/>
                  </a:lnTo>
                  <a:cubicBezTo>
                    <a:pt x="886" y="544"/>
                    <a:pt x="907" y="564"/>
                    <a:pt x="907" y="589"/>
                  </a:cubicBezTo>
                  <a:lnTo>
                    <a:pt x="907" y="1042"/>
                  </a:lnTo>
                  <a:close/>
                  <a:moveTo>
                    <a:pt x="1723" y="4034"/>
                  </a:moveTo>
                  <a:cubicBezTo>
                    <a:pt x="1723" y="4059"/>
                    <a:pt x="1702" y="4080"/>
                    <a:pt x="1677" y="4080"/>
                  </a:cubicBezTo>
                  <a:lnTo>
                    <a:pt x="1224" y="4080"/>
                  </a:lnTo>
                  <a:cubicBezTo>
                    <a:pt x="1199" y="4080"/>
                    <a:pt x="1179" y="4059"/>
                    <a:pt x="1179" y="4034"/>
                  </a:cubicBezTo>
                  <a:lnTo>
                    <a:pt x="1179" y="3581"/>
                  </a:lnTo>
                  <a:cubicBezTo>
                    <a:pt x="1179" y="3556"/>
                    <a:pt x="1199" y="3536"/>
                    <a:pt x="1224" y="3536"/>
                  </a:cubicBezTo>
                  <a:lnTo>
                    <a:pt x="1677" y="3536"/>
                  </a:lnTo>
                  <a:cubicBezTo>
                    <a:pt x="1702" y="3536"/>
                    <a:pt x="1723" y="3556"/>
                    <a:pt x="1723" y="3581"/>
                  </a:cubicBezTo>
                  <a:lnTo>
                    <a:pt x="1723" y="4034"/>
                  </a:lnTo>
                  <a:close/>
                  <a:moveTo>
                    <a:pt x="1723" y="3037"/>
                  </a:moveTo>
                  <a:cubicBezTo>
                    <a:pt x="1723" y="3062"/>
                    <a:pt x="1702" y="3082"/>
                    <a:pt x="1677" y="3082"/>
                  </a:cubicBezTo>
                  <a:lnTo>
                    <a:pt x="1224" y="3082"/>
                  </a:lnTo>
                  <a:cubicBezTo>
                    <a:pt x="1199" y="3082"/>
                    <a:pt x="1179" y="3062"/>
                    <a:pt x="1179" y="3037"/>
                  </a:cubicBezTo>
                  <a:lnTo>
                    <a:pt x="1179" y="2584"/>
                  </a:lnTo>
                  <a:cubicBezTo>
                    <a:pt x="1179" y="2559"/>
                    <a:pt x="1199" y="2538"/>
                    <a:pt x="1224" y="2538"/>
                  </a:cubicBezTo>
                  <a:lnTo>
                    <a:pt x="1677" y="2538"/>
                  </a:lnTo>
                  <a:cubicBezTo>
                    <a:pt x="1702" y="2538"/>
                    <a:pt x="1723" y="2559"/>
                    <a:pt x="1723" y="2584"/>
                  </a:cubicBezTo>
                  <a:lnTo>
                    <a:pt x="1723" y="3037"/>
                  </a:lnTo>
                  <a:close/>
                  <a:moveTo>
                    <a:pt x="1723" y="2040"/>
                  </a:moveTo>
                  <a:cubicBezTo>
                    <a:pt x="1723" y="2065"/>
                    <a:pt x="1702" y="2085"/>
                    <a:pt x="1677" y="2085"/>
                  </a:cubicBezTo>
                  <a:lnTo>
                    <a:pt x="1224" y="2085"/>
                  </a:lnTo>
                  <a:cubicBezTo>
                    <a:pt x="1199" y="2085"/>
                    <a:pt x="1179" y="2065"/>
                    <a:pt x="1179" y="2040"/>
                  </a:cubicBezTo>
                  <a:lnTo>
                    <a:pt x="1179" y="1586"/>
                  </a:lnTo>
                  <a:cubicBezTo>
                    <a:pt x="1179" y="1561"/>
                    <a:pt x="1199" y="1541"/>
                    <a:pt x="1224" y="1541"/>
                  </a:cubicBezTo>
                  <a:lnTo>
                    <a:pt x="1677" y="1541"/>
                  </a:lnTo>
                  <a:cubicBezTo>
                    <a:pt x="1702" y="1541"/>
                    <a:pt x="1723" y="1561"/>
                    <a:pt x="1723" y="1586"/>
                  </a:cubicBezTo>
                  <a:lnTo>
                    <a:pt x="1723" y="2040"/>
                  </a:lnTo>
                  <a:close/>
                  <a:moveTo>
                    <a:pt x="1723" y="1042"/>
                  </a:moveTo>
                  <a:cubicBezTo>
                    <a:pt x="1723" y="1067"/>
                    <a:pt x="1702" y="1088"/>
                    <a:pt x="1677" y="1088"/>
                  </a:cubicBezTo>
                  <a:lnTo>
                    <a:pt x="1224" y="1088"/>
                  </a:lnTo>
                  <a:cubicBezTo>
                    <a:pt x="1199" y="1088"/>
                    <a:pt x="1179" y="1067"/>
                    <a:pt x="1179" y="1042"/>
                  </a:cubicBezTo>
                  <a:lnTo>
                    <a:pt x="1179" y="589"/>
                  </a:lnTo>
                  <a:cubicBezTo>
                    <a:pt x="1179" y="564"/>
                    <a:pt x="1199" y="544"/>
                    <a:pt x="1224" y="544"/>
                  </a:cubicBezTo>
                  <a:lnTo>
                    <a:pt x="1677" y="544"/>
                  </a:lnTo>
                  <a:cubicBezTo>
                    <a:pt x="1702" y="544"/>
                    <a:pt x="1723" y="564"/>
                    <a:pt x="1723" y="589"/>
                  </a:cubicBezTo>
                  <a:lnTo>
                    <a:pt x="1723" y="1042"/>
                  </a:lnTo>
                  <a:close/>
                  <a:moveTo>
                    <a:pt x="2539" y="4034"/>
                  </a:moveTo>
                  <a:cubicBezTo>
                    <a:pt x="2539" y="4059"/>
                    <a:pt x="2518" y="4080"/>
                    <a:pt x="2493" y="4080"/>
                  </a:cubicBezTo>
                  <a:lnTo>
                    <a:pt x="2040" y="4080"/>
                  </a:lnTo>
                  <a:cubicBezTo>
                    <a:pt x="2015" y="4080"/>
                    <a:pt x="1995" y="4059"/>
                    <a:pt x="1995" y="4034"/>
                  </a:cubicBezTo>
                  <a:lnTo>
                    <a:pt x="1995" y="3581"/>
                  </a:lnTo>
                  <a:cubicBezTo>
                    <a:pt x="1995" y="3556"/>
                    <a:pt x="2015" y="3536"/>
                    <a:pt x="2040" y="3536"/>
                  </a:cubicBezTo>
                  <a:lnTo>
                    <a:pt x="2493" y="3536"/>
                  </a:lnTo>
                  <a:cubicBezTo>
                    <a:pt x="2518" y="3536"/>
                    <a:pt x="2539" y="3556"/>
                    <a:pt x="2539" y="3581"/>
                  </a:cubicBezTo>
                  <a:lnTo>
                    <a:pt x="2539" y="4034"/>
                  </a:lnTo>
                  <a:close/>
                  <a:moveTo>
                    <a:pt x="2539" y="3037"/>
                  </a:moveTo>
                  <a:cubicBezTo>
                    <a:pt x="2539" y="3062"/>
                    <a:pt x="2518" y="3082"/>
                    <a:pt x="2493" y="3082"/>
                  </a:cubicBezTo>
                  <a:lnTo>
                    <a:pt x="2040" y="3082"/>
                  </a:lnTo>
                  <a:cubicBezTo>
                    <a:pt x="2015" y="3082"/>
                    <a:pt x="1995" y="3062"/>
                    <a:pt x="1995" y="3037"/>
                  </a:cubicBezTo>
                  <a:lnTo>
                    <a:pt x="1995" y="2584"/>
                  </a:lnTo>
                  <a:cubicBezTo>
                    <a:pt x="1995" y="2559"/>
                    <a:pt x="2015" y="2538"/>
                    <a:pt x="2040" y="2538"/>
                  </a:cubicBezTo>
                  <a:lnTo>
                    <a:pt x="2493" y="2538"/>
                  </a:lnTo>
                  <a:cubicBezTo>
                    <a:pt x="2518" y="2538"/>
                    <a:pt x="2539" y="2559"/>
                    <a:pt x="2539" y="2584"/>
                  </a:cubicBezTo>
                  <a:lnTo>
                    <a:pt x="2539" y="3037"/>
                  </a:lnTo>
                  <a:close/>
                  <a:moveTo>
                    <a:pt x="2539" y="2040"/>
                  </a:moveTo>
                  <a:cubicBezTo>
                    <a:pt x="2539" y="2065"/>
                    <a:pt x="2518" y="2085"/>
                    <a:pt x="2493" y="2085"/>
                  </a:cubicBezTo>
                  <a:lnTo>
                    <a:pt x="2040" y="2085"/>
                  </a:lnTo>
                  <a:cubicBezTo>
                    <a:pt x="2015" y="2085"/>
                    <a:pt x="1995" y="2065"/>
                    <a:pt x="1995" y="2040"/>
                  </a:cubicBezTo>
                  <a:lnTo>
                    <a:pt x="1995" y="1586"/>
                  </a:lnTo>
                  <a:cubicBezTo>
                    <a:pt x="1995" y="1561"/>
                    <a:pt x="2015" y="1541"/>
                    <a:pt x="2040" y="1541"/>
                  </a:cubicBezTo>
                  <a:lnTo>
                    <a:pt x="2493" y="1541"/>
                  </a:lnTo>
                  <a:cubicBezTo>
                    <a:pt x="2518" y="1541"/>
                    <a:pt x="2539" y="1561"/>
                    <a:pt x="2539" y="1586"/>
                  </a:cubicBezTo>
                  <a:lnTo>
                    <a:pt x="2539" y="2040"/>
                  </a:lnTo>
                  <a:close/>
                  <a:moveTo>
                    <a:pt x="2539" y="1042"/>
                  </a:moveTo>
                  <a:cubicBezTo>
                    <a:pt x="2539" y="1067"/>
                    <a:pt x="2518" y="1088"/>
                    <a:pt x="2493" y="1088"/>
                  </a:cubicBezTo>
                  <a:lnTo>
                    <a:pt x="2040" y="1088"/>
                  </a:lnTo>
                  <a:cubicBezTo>
                    <a:pt x="2015" y="1088"/>
                    <a:pt x="1995" y="1067"/>
                    <a:pt x="1995" y="1042"/>
                  </a:cubicBezTo>
                  <a:lnTo>
                    <a:pt x="1995" y="589"/>
                  </a:lnTo>
                  <a:cubicBezTo>
                    <a:pt x="1995" y="564"/>
                    <a:pt x="2015" y="544"/>
                    <a:pt x="2040" y="544"/>
                  </a:cubicBezTo>
                  <a:lnTo>
                    <a:pt x="2493" y="544"/>
                  </a:lnTo>
                  <a:cubicBezTo>
                    <a:pt x="2518" y="544"/>
                    <a:pt x="2539" y="564"/>
                    <a:pt x="2539" y="589"/>
                  </a:cubicBezTo>
                  <a:lnTo>
                    <a:pt x="2539" y="1042"/>
                  </a:lnTo>
                  <a:close/>
                  <a:moveTo>
                    <a:pt x="6099" y="2610"/>
                  </a:moveTo>
                  <a:lnTo>
                    <a:pt x="3379" y="1845"/>
                  </a:lnTo>
                  <a:cubicBezTo>
                    <a:pt x="3321" y="1829"/>
                    <a:pt x="3264" y="1873"/>
                    <a:pt x="3264" y="1933"/>
                  </a:cubicBezTo>
                  <a:lnTo>
                    <a:pt x="3264" y="5440"/>
                  </a:lnTo>
                  <a:lnTo>
                    <a:pt x="3627" y="5440"/>
                  </a:lnTo>
                  <a:lnTo>
                    <a:pt x="3627" y="4714"/>
                  </a:lnTo>
                  <a:cubicBezTo>
                    <a:pt x="3627" y="4664"/>
                    <a:pt x="3667" y="4624"/>
                    <a:pt x="3717" y="4624"/>
                  </a:cubicBezTo>
                  <a:lnTo>
                    <a:pt x="4080" y="4624"/>
                  </a:lnTo>
                  <a:cubicBezTo>
                    <a:pt x="4130" y="4624"/>
                    <a:pt x="4171" y="4664"/>
                    <a:pt x="4171" y="4714"/>
                  </a:cubicBezTo>
                  <a:lnTo>
                    <a:pt x="4171" y="5440"/>
                  </a:lnTo>
                  <a:lnTo>
                    <a:pt x="6165" y="5440"/>
                  </a:lnTo>
                  <a:lnTo>
                    <a:pt x="6165" y="2698"/>
                  </a:lnTo>
                  <a:cubicBezTo>
                    <a:pt x="6165" y="2657"/>
                    <a:pt x="6138" y="2621"/>
                    <a:pt x="6099" y="2610"/>
                  </a:cubicBezTo>
                  <a:close/>
                  <a:moveTo>
                    <a:pt x="4171" y="4216"/>
                  </a:moveTo>
                  <a:cubicBezTo>
                    <a:pt x="4171" y="4241"/>
                    <a:pt x="4150" y="4261"/>
                    <a:pt x="4125" y="4261"/>
                  </a:cubicBezTo>
                  <a:lnTo>
                    <a:pt x="3672" y="4261"/>
                  </a:lnTo>
                  <a:cubicBezTo>
                    <a:pt x="3647" y="4261"/>
                    <a:pt x="3627" y="4241"/>
                    <a:pt x="3627" y="4216"/>
                  </a:cubicBezTo>
                  <a:lnTo>
                    <a:pt x="3627" y="3762"/>
                  </a:lnTo>
                  <a:cubicBezTo>
                    <a:pt x="3627" y="3737"/>
                    <a:pt x="3647" y="3717"/>
                    <a:pt x="3672" y="3717"/>
                  </a:cubicBezTo>
                  <a:lnTo>
                    <a:pt x="4125" y="3717"/>
                  </a:lnTo>
                  <a:cubicBezTo>
                    <a:pt x="4150" y="3717"/>
                    <a:pt x="4171" y="3737"/>
                    <a:pt x="4171" y="3762"/>
                  </a:cubicBezTo>
                  <a:lnTo>
                    <a:pt x="4171" y="4216"/>
                  </a:lnTo>
                  <a:close/>
                  <a:moveTo>
                    <a:pt x="4171" y="3218"/>
                  </a:moveTo>
                  <a:cubicBezTo>
                    <a:pt x="4171" y="3243"/>
                    <a:pt x="4150" y="3264"/>
                    <a:pt x="4125" y="3264"/>
                  </a:cubicBezTo>
                  <a:lnTo>
                    <a:pt x="3672" y="3264"/>
                  </a:lnTo>
                  <a:cubicBezTo>
                    <a:pt x="3647" y="3264"/>
                    <a:pt x="3627" y="3243"/>
                    <a:pt x="3627" y="3218"/>
                  </a:cubicBezTo>
                  <a:lnTo>
                    <a:pt x="3627" y="2765"/>
                  </a:lnTo>
                  <a:cubicBezTo>
                    <a:pt x="3627" y="2740"/>
                    <a:pt x="3647" y="2720"/>
                    <a:pt x="3672" y="2720"/>
                  </a:cubicBezTo>
                  <a:lnTo>
                    <a:pt x="4125" y="2720"/>
                  </a:lnTo>
                  <a:cubicBezTo>
                    <a:pt x="4150" y="2720"/>
                    <a:pt x="4171" y="2740"/>
                    <a:pt x="4171" y="2765"/>
                  </a:cubicBezTo>
                  <a:lnTo>
                    <a:pt x="4171" y="3218"/>
                  </a:lnTo>
                  <a:close/>
                  <a:moveTo>
                    <a:pt x="4987" y="4216"/>
                  </a:moveTo>
                  <a:cubicBezTo>
                    <a:pt x="4987" y="4241"/>
                    <a:pt x="4966" y="4261"/>
                    <a:pt x="4941" y="4261"/>
                  </a:cubicBezTo>
                  <a:lnTo>
                    <a:pt x="4488" y="4261"/>
                  </a:lnTo>
                  <a:cubicBezTo>
                    <a:pt x="4463" y="4261"/>
                    <a:pt x="4443" y="4241"/>
                    <a:pt x="4443" y="4216"/>
                  </a:cubicBezTo>
                  <a:lnTo>
                    <a:pt x="4443" y="3762"/>
                  </a:lnTo>
                  <a:cubicBezTo>
                    <a:pt x="4443" y="3737"/>
                    <a:pt x="4463" y="3717"/>
                    <a:pt x="4488" y="3717"/>
                  </a:cubicBezTo>
                  <a:lnTo>
                    <a:pt x="4941" y="3717"/>
                  </a:lnTo>
                  <a:cubicBezTo>
                    <a:pt x="4966" y="3717"/>
                    <a:pt x="4987" y="3737"/>
                    <a:pt x="4987" y="3762"/>
                  </a:cubicBezTo>
                  <a:lnTo>
                    <a:pt x="4987" y="4216"/>
                  </a:lnTo>
                  <a:close/>
                  <a:moveTo>
                    <a:pt x="4987" y="3218"/>
                  </a:moveTo>
                  <a:cubicBezTo>
                    <a:pt x="4987" y="3243"/>
                    <a:pt x="4966" y="3264"/>
                    <a:pt x="4941" y="3264"/>
                  </a:cubicBezTo>
                  <a:lnTo>
                    <a:pt x="4488" y="3264"/>
                  </a:lnTo>
                  <a:cubicBezTo>
                    <a:pt x="4463" y="3264"/>
                    <a:pt x="4443" y="3243"/>
                    <a:pt x="4443" y="3218"/>
                  </a:cubicBezTo>
                  <a:lnTo>
                    <a:pt x="4443" y="2765"/>
                  </a:lnTo>
                  <a:cubicBezTo>
                    <a:pt x="4443" y="2740"/>
                    <a:pt x="4463" y="2720"/>
                    <a:pt x="4488" y="2720"/>
                  </a:cubicBezTo>
                  <a:lnTo>
                    <a:pt x="4941" y="2720"/>
                  </a:lnTo>
                  <a:cubicBezTo>
                    <a:pt x="4966" y="2720"/>
                    <a:pt x="4987" y="2740"/>
                    <a:pt x="4987" y="2765"/>
                  </a:cubicBezTo>
                  <a:lnTo>
                    <a:pt x="4987" y="3218"/>
                  </a:lnTo>
                  <a:close/>
                  <a:moveTo>
                    <a:pt x="5803" y="4216"/>
                  </a:moveTo>
                  <a:cubicBezTo>
                    <a:pt x="5803" y="4241"/>
                    <a:pt x="5782" y="4261"/>
                    <a:pt x="5757" y="4261"/>
                  </a:cubicBezTo>
                  <a:lnTo>
                    <a:pt x="5304" y="4261"/>
                  </a:lnTo>
                  <a:cubicBezTo>
                    <a:pt x="5279" y="4261"/>
                    <a:pt x="5259" y="4241"/>
                    <a:pt x="5259" y="4216"/>
                  </a:cubicBezTo>
                  <a:lnTo>
                    <a:pt x="5259" y="3762"/>
                  </a:lnTo>
                  <a:cubicBezTo>
                    <a:pt x="5259" y="3737"/>
                    <a:pt x="5279" y="3717"/>
                    <a:pt x="5304" y="3717"/>
                  </a:cubicBezTo>
                  <a:lnTo>
                    <a:pt x="5757" y="3717"/>
                  </a:lnTo>
                  <a:cubicBezTo>
                    <a:pt x="5782" y="3717"/>
                    <a:pt x="5803" y="3737"/>
                    <a:pt x="5803" y="3762"/>
                  </a:cubicBezTo>
                  <a:lnTo>
                    <a:pt x="5803" y="4216"/>
                  </a:lnTo>
                  <a:close/>
                  <a:moveTo>
                    <a:pt x="5803" y="3218"/>
                  </a:moveTo>
                  <a:cubicBezTo>
                    <a:pt x="5803" y="3243"/>
                    <a:pt x="5782" y="3264"/>
                    <a:pt x="5757" y="3264"/>
                  </a:cubicBezTo>
                  <a:lnTo>
                    <a:pt x="5304" y="3264"/>
                  </a:lnTo>
                  <a:cubicBezTo>
                    <a:pt x="5279" y="3264"/>
                    <a:pt x="5259" y="3243"/>
                    <a:pt x="5259" y="3218"/>
                  </a:cubicBezTo>
                  <a:lnTo>
                    <a:pt x="5259" y="2765"/>
                  </a:lnTo>
                  <a:cubicBezTo>
                    <a:pt x="5259" y="2740"/>
                    <a:pt x="5279" y="2720"/>
                    <a:pt x="5304" y="2720"/>
                  </a:cubicBezTo>
                  <a:lnTo>
                    <a:pt x="5757" y="2720"/>
                  </a:lnTo>
                  <a:cubicBezTo>
                    <a:pt x="5782" y="2720"/>
                    <a:pt x="5803" y="2740"/>
                    <a:pt x="5803" y="2765"/>
                  </a:cubicBezTo>
                  <a:lnTo>
                    <a:pt x="5803" y="32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7F89888-3F64-41DB-B1E1-BA4A4969A06F}"/>
                </a:ext>
              </a:extLst>
            </p:cNvPr>
            <p:cNvSpPr/>
            <p:nvPr/>
          </p:nvSpPr>
          <p:spPr bwMode="auto">
            <a:xfrm>
              <a:off x="9572371" y="3711153"/>
              <a:ext cx="354658" cy="312462"/>
            </a:xfrm>
            <a:custGeom>
              <a:avLst/>
              <a:gdLst>
                <a:gd name="T0" fmla="*/ 0 w 6165"/>
                <a:gd name="T1" fmla="*/ 90 h 5440"/>
                <a:gd name="T2" fmla="*/ 363 w 6165"/>
                <a:gd name="T3" fmla="*/ 4624 h 5440"/>
                <a:gd name="T4" fmla="*/ 907 w 6165"/>
                <a:gd name="T5" fmla="*/ 4624 h 5440"/>
                <a:gd name="T6" fmla="*/ 2901 w 6165"/>
                <a:gd name="T7" fmla="*/ 90 h 5440"/>
                <a:gd name="T8" fmla="*/ 861 w 6165"/>
                <a:gd name="T9" fmla="*/ 4080 h 5440"/>
                <a:gd name="T10" fmla="*/ 363 w 6165"/>
                <a:gd name="T11" fmla="*/ 3581 h 5440"/>
                <a:gd name="T12" fmla="*/ 907 w 6165"/>
                <a:gd name="T13" fmla="*/ 3581 h 5440"/>
                <a:gd name="T14" fmla="*/ 861 w 6165"/>
                <a:gd name="T15" fmla="*/ 3082 h 5440"/>
                <a:gd name="T16" fmla="*/ 363 w 6165"/>
                <a:gd name="T17" fmla="*/ 2584 h 5440"/>
                <a:gd name="T18" fmla="*/ 907 w 6165"/>
                <a:gd name="T19" fmla="*/ 2584 h 5440"/>
                <a:gd name="T20" fmla="*/ 861 w 6165"/>
                <a:gd name="T21" fmla="*/ 2085 h 5440"/>
                <a:gd name="T22" fmla="*/ 363 w 6165"/>
                <a:gd name="T23" fmla="*/ 1586 h 5440"/>
                <a:gd name="T24" fmla="*/ 907 w 6165"/>
                <a:gd name="T25" fmla="*/ 1586 h 5440"/>
                <a:gd name="T26" fmla="*/ 861 w 6165"/>
                <a:gd name="T27" fmla="*/ 1088 h 5440"/>
                <a:gd name="T28" fmla="*/ 363 w 6165"/>
                <a:gd name="T29" fmla="*/ 589 h 5440"/>
                <a:gd name="T30" fmla="*/ 907 w 6165"/>
                <a:gd name="T31" fmla="*/ 589 h 5440"/>
                <a:gd name="T32" fmla="*/ 1677 w 6165"/>
                <a:gd name="T33" fmla="*/ 4080 h 5440"/>
                <a:gd name="T34" fmla="*/ 1179 w 6165"/>
                <a:gd name="T35" fmla="*/ 3581 h 5440"/>
                <a:gd name="T36" fmla="*/ 1723 w 6165"/>
                <a:gd name="T37" fmla="*/ 3581 h 5440"/>
                <a:gd name="T38" fmla="*/ 1677 w 6165"/>
                <a:gd name="T39" fmla="*/ 3082 h 5440"/>
                <a:gd name="T40" fmla="*/ 1179 w 6165"/>
                <a:gd name="T41" fmla="*/ 2584 h 5440"/>
                <a:gd name="T42" fmla="*/ 1723 w 6165"/>
                <a:gd name="T43" fmla="*/ 2584 h 5440"/>
                <a:gd name="T44" fmla="*/ 1677 w 6165"/>
                <a:gd name="T45" fmla="*/ 2085 h 5440"/>
                <a:gd name="T46" fmla="*/ 1179 w 6165"/>
                <a:gd name="T47" fmla="*/ 1586 h 5440"/>
                <a:gd name="T48" fmla="*/ 1723 w 6165"/>
                <a:gd name="T49" fmla="*/ 1586 h 5440"/>
                <a:gd name="T50" fmla="*/ 1677 w 6165"/>
                <a:gd name="T51" fmla="*/ 1088 h 5440"/>
                <a:gd name="T52" fmla="*/ 1179 w 6165"/>
                <a:gd name="T53" fmla="*/ 589 h 5440"/>
                <a:gd name="T54" fmla="*/ 1723 w 6165"/>
                <a:gd name="T55" fmla="*/ 589 h 5440"/>
                <a:gd name="T56" fmla="*/ 2493 w 6165"/>
                <a:gd name="T57" fmla="*/ 4080 h 5440"/>
                <a:gd name="T58" fmla="*/ 1995 w 6165"/>
                <a:gd name="T59" fmla="*/ 3581 h 5440"/>
                <a:gd name="T60" fmla="*/ 2539 w 6165"/>
                <a:gd name="T61" fmla="*/ 3581 h 5440"/>
                <a:gd name="T62" fmla="*/ 2493 w 6165"/>
                <a:gd name="T63" fmla="*/ 3082 h 5440"/>
                <a:gd name="T64" fmla="*/ 1995 w 6165"/>
                <a:gd name="T65" fmla="*/ 2584 h 5440"/>
                <a:gd name="T66" fmla="*/ 2539 w 6165"/>
                <a:gd name="T67" fmla="*/ 2584 h 5440"/>
                <a:gd name="T68" fmla="*/ 2493 w 6165"/>
                <a:gd name="T69" fmla="*/ 2085 h 5440"/>
                <a:gd name="T70" fmla="*/ 1995 w 6165"/>
                <a:gd name="T71" fmla="*/ 1586 h 5440"/>
                <a:gd name="T72" fmla="*/ 2539 w 6165"/>
                <a:gd name="T73" fmla="*/ 1586 h 5440"/>
                <a:gd name="T74" fmla="*/ 2493 w 6165"/>
                <a:gd name="T75" fmla="*/ 1088 h 5440"/>
                <a:gd name="T76" fmla="*/ 1995 w 6165"/>
                <a:gd name="T77" fmla="*/ 589 h 5440"/>
                <a:gd name="T78" fmla="*/ 2539 w 6165"/>
                <a:gd name="T79" fmla="*/ 589 h 5440"/>
                <a:gd name="T80" fmla="*/ 3379 w 6165"/>
                <a:gd name="T81" fmla="*/ 1845 h 5440"/>
                <a:gd name="T82" fmla="*/ 3627 w 6165"/>
                <a:gd name="T83" fmla="*/ 5440 h 5440"/>
                <a:gd name="T84" fmla="*/ 4080 w 6165"/>
                <a:gd name="T85" fmla="*/ 4624 h 5440"/>
                <a:gd name="T86" fmla="*/ 6165 w 6165"/>
                <a:gd name="T87" fmla="*/ 5440 h 5440"/>
                <a:gd name="T88" fmla="*/ 4171 w 6165"/>
                <a:gd name="T89" fmla="*/ 4216 h 5440"/>
                <a:gd name="T90" fmla="*/ 3627 w 6165"/>
                <a:gd name="T91" fmla="*/ 4216 h 5440"/>
                <a:gd name="T92" fmla="*/ 4125 w 6165"/>
                <a:gd name="T93" fmla="*/ 3717 h 5440"/>
                <a:gd name="T94" fmla="*/ 4171 w 6165"/>
                <a:gd name="T95" fmla="*/ 3218 h 5440"/>
                <a:gd name="T96" fmla="*/ 3627 w 6165"/>
                <a:gd name="T97" fmla="*/ 3218 h 5440"/>
                <a:gd name="T98" fmla="*/ 4125 w 6165"/>
                <a:gd name="T99" fmla="*/ 2720 h 5440"/>
                <a:gd name="T100" fmla="*/ 4987 w 6165"/>
                <a:gd name="T101" fmla="*/ 4216 h 5440"/>
                <a:gd name="T102" fmla="*/ 4443 w 6165"/>
                <a:gd name="T103" fmla="*/ 4216 h 5440"/>
                <a:gd name="T104" fmla="*/ 4941 w 6165"/>
                <a:gd name="T105" fmla="*/ 3717 h 5440"/>
                <a:gd name="T106" fmla="*/ 4987 w 6165"/>
                <a:gd name="T107" fmla="*/ 3218 h 5440"/>
                <a:gd name="T108" fmla="*/ 4443 w 6165"/>
                <a:gd name="T109" fmla="*/ 3218 h 5440"/>
                <a:gd name="T110" fmla="*/ 4941 w 6165"/>
                <a:gd name="T111" fmla="*/ 2720 h 5440"/>
                <a:gd name="T112" fmla="*/ 5803 w 6165"/>
                <a:gd name="T113" fmla="*/ 4216 h 5440"/>
                <a:gd name="T114" fmla="*/ 5259 w 6165"/>
                <a:gd name="T115" fmla="*/ 4216 h 5440"/>
                <a:gd name="T116" fmla="*/ 5757 w 6165"/>
                <a:gd name="T117" fmla="*/ 3717 h 5440"/>
                <a:gd name="T118" fmla="*/ 5803 w 6165"/>
                <a:gd name="T119" fmla="*/ 3218 h 5440"/>
                <a:gd name="T120" fmla="*/ 5259 w 6165"/>
                <a:gd name="T121" fmla="*/ 3218 h 5440"/>
                <a:gd name="T122" fmla="*/ 5757 w 6165"/>
                <a:gd name="T123" fmla="*/ 2720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5" h="5440">
                  <a:moveTo>
                    <a:pt x="2811" y="0"/>
                  </a:moveTo>
                  <a:lnTo>
                    <a:pt x="91" y="0"/>
                  </a:lnTo>
                  <a:cubicBezTo>
                    <a:pt x="41" y="0"/>
                    <a:pt x="0" y="40"/>
                    <a:pt x="0" y="90"/>
                  </a:cubicBezTo>
                  <a:lnTo>
                    <a:pt x="0" y="5440"/>
                  </a:lnTo>
                  <a:lnTo>
                    <a:pt x="363" y="5440"/>
                  </a:lnTo>
                  <a:lnTo>
                    <a:pt x="363" y="4624"/>
                  </a:lnTo>
                  <a:cubicBezTo>
                    <a:pt x="363" y="4574"/>
                    <a:pt x="403" y="4533"/>
                    <a:pt x="453" y="4533"/>
                  </a:cubicBezTo>
                  <a:lnTo>
                    <a:pt x="816" y="4533"/>
                  </a:lnTo>
                  <a:cubicBezTo>
                    <a:pt x="866" y="4533"/>
                    <a:pt x="907" y="4574"/>
                    <a:pt x="907" y="4624"/>
                  </a:cubicBezTo>
                  <a:lnTo>
                    <a:pt x="907" y="5440"/>
                  </a:lnTo>
                  <a:lnTo>
                    <a:pt x="2901" y="5440"/>
                  </a:lnTo>
                  <a:lnTo>
                    <a:pt x="2901" y="90"/>
                  </a:lnTo>
                  <a:cubicBezTo>
                    <a:pt x="2901" y="40"/>
                    <a:pt x="2861" y="0"/>
                    <a:pt x="2811" y="0"/>
                  </a:cubicBezTo>
                  <a:close/>
                  <a:moveTo>
                    <a:pt x="907" y="4034"/>
                  </a:moveTo>
                  <a:cubicBezTo>
                    <a:pt x="907" y="4059"/>
                    <a:pt x="886" y="4080"/>
                    <a:pt x="861" y="4080"/>
                  </a:cubicBezTo>
                  <a:lnTo>
                    <a:pt x="408" y="4080"/>
                  </a:lnTo>
                  <a:cubicBezTo>
                    <a:pt x="383" y="4080"/>
                    <a:pt x="363" y="4059"/>
                    <a:pt x="363" y="4034"/>
                  </a:cubicBezTo>
                  <a:lnTo>
                    <a:pt x="363" y="3581"/>
                  </a:lnTo>
                  <a:cubicBezTo>
                    <a:pt x="363" y="3556"/>
                    <a:pt x="383" y="3536"/>
                    <a:pt x="408" y="3536"/>
                  </a:cubicBezTo>
                  <a:lnTo>
                    <a:pt x="861" y="3536"/>
                  </a:lnTo>
                  <a:cubicBezTo>
                    <a:pt x="886" y="3536"/>
                    <a:pt x="907" y="3556"/>
                    <a:pt x="907" y="3581"/>
                  </a:cubicBezTo>
                  <a:lnTo>
                    <a:pt x="907" y="4034"/>
                  </a:lnTo>
                  <a:close/>
                  <a:moveTo>
                    <a:pt x="907" y="3037"/>
                  </a:moveTo>
                  <a:cubicBezTo>
                    <a:pt x="907" y="3062"/>
                    <a:pt x="886" y="3082"/>
                    <a:pt x="861" y="3082"/>
                  </a:cubicBezTo>
                  <a:lnTo>
                    <a:pt x="408" y="3082"/>
                  </a:lnTo>
                  <a:cubicBezTo>
                    <a:pt x="383" y="3082"/>
                    <a:pt x="363" y="3062"/>
                    <a:pt x="363" y="3037"/>
                  </a:cubicBezTo>
                  <a:lnTo>
                    <a:pt x="363" y="2584"/>
                  </a:lnTo>
                  <a:cubicBezTo>
                    <a:pt x="363" y="2559"/>
                    <a:pt x="383" y="2538"/>
                    <a:pt x="408" y="2538"/>
                  </a:cubicBezTo>
                  <a:lnTo>
                    <a:pt x="861" y="2538"/>
                  </a:lnTo>
                  <a:cubicBezTo>
                    <a:pt x="886" y="2538"/>
                    <a:pt x="907" y="2559"/>
                    <a:pt x="907" y="2584"/>
                  </a:cubicBezTo>
                  <a:lnTo>
                    <a:pt x="907" y="3037"/>
                  </a:lnTo>
                  <a:close/>
                  <a:moveTo>
                    <a:pt x="907" y="2040"/>
                  </a:moveTo>
                  <a:cubicBezTo>
                    <a:pt x="907" y="2065"/>
                    <a:pt x="886" y="2085"/>
                    <a:pt x="861" y="2085"/>
                  </a:cubicBezTo>
                  <a:lnTo>
                    <a:pt x="408" y="2085"/>
                  </a:lnTo>
                  <a:cubicBezTo>
                    <a:pt x="383" y="2085"/>
                    <a:pt x="363" y="2065"/>
                    <a:pt x="363" y="2040"/>
                  </a:cubicBezTo>
                  <a:lnTo>
                    <a:pt x="363" y="1586"/>
                  </a:lnTo>
                  <a:cubicBezTo>
                    <a:pt x="363" y="1561"/>
                    <a:pt x="383" y="1541"/>
                    <a:pt x="408" y="1541"/>
                  </a:cubicBezTo>
                  <a:lnTo>
                    <a:pt x="861" y="1541"/>
                  </a:lnTo>
                  <a:cubicBezTo>
                    <a:pt x="886" y="1541"/>
                    <a:pt x="907" y="1561"/>
                    <a:pt x="907" y="1586"/>
                  </a:cubicBezTo>
                  <a:lnTo>
                    <a:pt x="907" y="2040"/>
                  </a:lnTo>
                  <a:close/>
                  <a:moveTo>
                    <a:pt x="907" y="1042"/>
                  </a:moveTo>
                  <a:cubicBezTo>
                    <a:pt x="907" y="1067"/>
                    <a:pt x="886" y="1088"/>
                    <a:pt x="861" y="1088"/>
                  </a:cubicBezTo>
                  <a:lnTo>
                    <a:pt x="408" y="1088"/>
                  </a:lnTo>
                  <a:cubicBezTo>
                    <a:pt x="383" y="1088"/>
                    <a:pt x="363" y="1067"/>
                    <a:pt x="363" y="1042"/>
                  </a:cubicBezTo>
                  <a:lnTo>
                    <a:pt x="363" y="589"/>
                  </a:lnTo>
                  <a:cubicBezTo>
                    <a:pt x="363" y="564"/>
                    <a:pt x="383" y="544"/>
                    <a:pt x="408" y="544"/>
                  </a:cubicBezTo>
                  <a:lnTo>
                    <a:pt x="861" y="544"/>
                  </a:lnTo>
                  <a:cubicBezTo>
                    <a:pt x="886" y="544"/>
                    <a:pt x="907" y="564"/>
                    <a:pt x="907" y="589"/>
                  </a:cubicBezTo>
                  <a:lnTo>
                    <a:pt x="907" y="1042"/>
                  </a:lnTo>
                  <a:close/>
                  <a:moveTo>
                    <a:pt x="1723" y="4034"/>
                  </a:moveTo>
                  <a:cubicBezTo>
                    <a:pt x="1723" y="4059"/>
                    <a:pt x="1702" y="4080"/>
                    <a:pt x="1677" y="4080"/>
                  </a:cubicBezTo>
                  <a:lnTo>
                    <a:pt x="1224" y="4080"/>
                  </a:lnTo>
                  <a:cubicBezTo>
                    <a:pt x="1199" y="4080"/>
                    <a:pt x="1179" y="4059"/>
                    <a:pt x="1179" y="4034"/>
                  </a:cubicBezTo>
                  <a:lnTo>
                    <a:pt x="1179" y="3581"/>
                  </a:lnTo>
                  <a:cubicBezTo>
                    <a:pt x="1179" y="3556"/>
                    <a:pt x="1199" y="3536"/>
                    <a:pt x="1224" y="3536"/>
                  </a:cubicBezTo>
                  <a:lnTo>
                    <a:pt x="1677" y="3536"/>
                  </a:lnTo>
                  <a:cubicBezTo>
                    <a:pt x="1702" y="3536"/>
                    <a:pt x="1723" y="3556"/>
                    <a:pt x="1723" y="3581"/>
                  </a:cubicBezTo>
                  <a:lnTo>
                    <a:pt x="1723" y="4034"/>
                  </a:lnTo>
                  <a:close/>
                  <a:moveTo>
                    <a:pt x="1723" y="3037"/>
                  </a:moveTo>
                  <a:cubicBezTo>
                    <a:pt x="1723" y="3062"/>
                    <a:pt x="1702" y="3082"/>
                    <a:pt x="1677" y="3082"/>
                  </a:cubicBezTo>
                  <a:lnTo>
                    <a:pt x="1224" y="3082"/>
                  </a:lnTo>
                  <a:cubicBezTo>
                    <a:pt x="1199" y="3082"/>
                    <a:pt x="1179" y="3062"/>
                    <a:pt x="1179" y="3037"/>
                  </a:cubicBezTo>
                  <a:lnTo>
                    <a:pt x="1179" y="2584"/>
                  </a:lnTo>
                  <a:cubicBezTo>
                    <a:pt x="1179" y="2559"/>
                    <a:pt x="1199" y="2538"/>
                    <a:pt x="1224" y="2538"/>
                  </a:cubicBezTo>
                  <a:lnTo>
                    <a:pt x="1677" y="2538"/>
                  </a:lnTo>
                  <a:cubicBezTo>
                    <a:pt x="1702" y="2538"/>
                    <a:pt x="1723" y="2559"/>
                    <a:pt x="1723" y="2584"/>
                  </a:cubicBezTo>
                  <a:lnTo>
                    <a:pt x="1723" y="3037"/>
                  </a:lnTo>
                  <a:close/>
                  <a:moveTo>
                    <a:pt x="1723" y="2040"/>
                  </a:moveTo>
                  <a:cubicBezTo>
                    <a:pt x="1723" y="2065"/>
                    <a:pt x="1702" y="2085"/>
                    <a:pt x="1677" y="2085"/>
                  </a:cubicBezTo>
                  <a:lnTo>
                    <a:pt x="1224" y="2085"/>
                  </a:lnTo>
                  <a:cubicBezTo>
                    <a:pt x="1199" y="2085"/>
                    <a:pt x="1179" y="2065"/>
                    <a:pt x="1179" y="2040"/>
                  </a:cubicBezTo>
                  <a:lnTo>
                    <a:pt x="1179" y="1586"/>
                  </a:lnTo>
                  <a:cubicBezTo>
                    <a:pt x="1179" y="1561"/>
                    <a:pt x="1199" y="1541"/>
                    <a:pt x="1224" y="1541"/>
                  </a:cubicBezTo>
                  <a:lnTo>
                    <a:pt x="1677" y="1541"/>
                  </a:lnTo>
                  <a:cubicBezTo>
                    <a:pt x="1702" y="1541"/>
                    <a:pt x="1723" y="1561"/>
                    <a:pt x="1723" y="1586"/>
                  </a:cubicBezTo>
                  <a:lnTo>
                    <a:pt x="1723" y="2040"/>
                  </a:lnTo>
                  <a:close/>
                  <a:moveTo>
                    <a:pt x="1723" y="1042"/>
                  </a:moveTo>
                  <a:cubicBezTo>
                    <a:pt x="1723" y="1067"/>
                    <a:pt x="1702" y="1088"/>
                    <a:pt x="1677" y="1088"/>
                  </a:cubicBezTo>
                  <a:lnTo>
                    <a:pt x="1224" y="1088"/>
                  </a:lnTo>
                  <a:cubicBezTo>
                    <a:pt x="1199" y="1088"/>
                    <a:pt x="1179" y="1067"/>
                    <a:pt x="1179" y="1042"/>
                  </a:cubicBezTo>
                  <a:lnTo>
                    <a:pt x="1179" y="589"/>
                  </a:lnTo>
                  <a:cubicBezTo>
                    <a:pt x="1179" y="564"/>
                    <a:pt x="1199" y="544"/>
                    <a:pt x="1224" y="544"/>
                  </a:cubicBezTo>
                  <a:lnTo>
                    <a:pt x="1677" y="544"/>
                  </a:lnTo>
                  <a:cubicBezTo>
                    <a:pt x="1702" y="544"/>
                    <a:pt x="1723" y="564"/>
                    <a:pt x="1723" y="589"/>
                  </a:cubicBezTo>
                  <a:lnTo>
                    <a:pt x="1723" y="1042"/>
                  </a:lnTo>
                  <a:close/>
                  <a:moveTo>
                    <a:pt x="2539" y="4034"/>
                  </a:moveTo>
                  <a:cubicBezTo>
                    <a:pt x="2539" y="4059"/>
                    <a:pt x="2518" y="4080"/>
                    <a:pt x="2493" y="4080"/>
                  </a:cubicBezTo>
                  <a:lnTo>
                    <a:pt x="2040" y="4080"/>
                  </a:lnTo>
                  <a:cubicBezTo>
                    <a:pt x="2015" y="4080"/>
                    <a:pt x="1995" y="4059"/>
                    <a:pt x="1995" y="4034"/>
                  </a:cubicBezTo>
                  <a:lnTo>
                    <a:pt x="1995" y="3581"/>
                  </a:lnTo>
                  <a:cubicBezTo>
                    <a:pt x="1995" y="3556"/>
                    <a:pt x="2015" y="3536"/>
                    <a:pt x="2040" y="3536"/>
                  </a:cubicBezTo>
                  <a:lnTo>
                    <a:pt x="2493" y="3536"/>
                  </a:lnTo>
                  <a:cubicBezTo>
                    <a:pt x="2518" y="3536"/>
                    <a:pt x="2539" y="3556"/>
                    <a:pt x="2539" y="3581"/>
                  </a:cubicBezTo>
                  <a:lnTo>
                    <a:pt x="2539" y="4034"/>
                  </a:lnTo>
                  <a:close/>
                  <a:moveTo>
                    <a:pt x="2539" y="3037"/>
                  </a:moveTo>
                  <a:cubicBezTo>
                    <a:pt x="2539" y="3062"/>
                    <a:pt x="2518" y="3082"/>
                    <a:pt x="2493" y="3082"/>
                  </a:cubicBezTo>
                  <a:lnTo>
                    <a:pt x="2040" y="3082"/>
                  </a:lnTo>
                  <a:cubicBezTo>
                    <a:pt x="2015" y="3082"/>
                    <a:pt x="1995" y="3062"/>
                    <a:pt x="1995" y="3037"/>
                  </a:cubicBezTo>
                  <a:lnTo>
                    <a:pt x="1995" y="2584"/>
                  </a:lnTo>
                  <a:cubicBezTo>
                    <a:pt x="1995" y="2559"/>
                    <a:pt x="2015" y="2538"/>
                    <a:pt x="2040" y="2538"/>
                  </a:cubicBezTo>
                  <a:lnTo>
                    <a:pt x="2493" y="2538"/>
                  </a:lnTo>
                  <a:cubicBezTo>
                    <a:pt x="2518" y="2538"/>
                    <a:pt x="2539" y="2559"/>
                    <a:pt x="2539" y="2584"/>
                  </a:cubicBezTo>
                  <a:lnTo>
                    <a:pt x="2539" y="3037"/>
                  </a:lnTo>
                  <a:close/>
                  <a:moveTo>
                    <a:pt x="2539" y="2040"/>
                  </a:moveTo>
                  <a:cubicBezTo>
                    <a:pt x="2539" y="2065"/>
                    <a:pt x="2518" y="2085"/>
                    <a:pt x="2493" y="2085"/>
                  </a:cubicBezTo>
                  <a:lnTo>
                    <a:pt x="2040" y="2085"/>
                  </a:lnTo>
                  <a:cubicBezTo>
                    <a:pt x="2015" y="2085"/>
                    <a:pt x="1995" y="2065"/>
                    <a:pt x="1995" y="2040"/>
                  </a:cubicBezTo>
                  <a:lnTo>
                    <a:pt x="1995" y="1586"/>
                  </a:lnTo>
                  <a:cubicBezTo>
                    <a:pt x="1995" y="1561"/>
                    <a:pt x="2015" y="1541"/>
                    <a:pt x="2040" y="1541"/>
                  </a:cubicBezTo>
                  <a:lnTo>
                    <a:pt x="2493" y="1541"/>
                  </a:lnTo>
                  <a:cubicBezTo>
                    <a:pt x="2518" y="1541"/>
                    <a:pt x="2539" y="1561"/>
                    <a:pt x="2539" y="1586"/>
                  </a:cubicBezTo>
                  <a:lnTo>
                    <a:pt x="2539" y="2040"/>
                  </a:lnTo>
                  <a:close/>
                  <a:moveTo>
                    <a:pt x="2539" y="1042"/>
                  </a:moveTo>
                  <a:cubicBezTo>
                    <a:pt x="2539" y="1067"/>
                    <a:pt x="2518" y="1088"/>
                    <a:pt x="2493" y="1088"/>
                  </a:cubicBezTo>
                  <a:lnTo>
                    <a:pt x="2040" y="1088"/>
                  </a:lnTo>
                  <a:cubicBezTo>
                    <a:pt x="2015" y="1088"/>
                    <a:pt x="1995" y="1067"/>
                    <a:pt x="1995" y="1042"/>
                  </a:cubicBezTo>
                  <a:lnTo>
                    <a:pt x="1995" y="589"/>
                  </a:lnTo>
                  <a:cubicBezTo>
                    <a:pt x="1995" y="564"/>
                    <a:pt x="2015" y="544"/>
                    <a:pt x="2040" y="544"/>
                  </a:cubicBezTo>
                  <a:lnTo>
                    <a:pt x="2493" y="544"/>
                  </a:lnTo>
                  <a:cubicBezTo>
                    <a:pt x="2518" y="544"/>
                    <a:pt x="2539" y="564"/>
                    <a:pt x="2539" y="589"/>
                  </a:cubicBezTo>
                  <a:lnTo>
                    <a:pt x="2539" y="1042"/>
                  </a:lnTo>
                  <a:close/>
                  <a:moveTo>
                    <a:pt x="6099" y="2610"/>
                  </a:moveTo>
                  <a:lnTo>
                    <a:pt x="3379" y="1845"/>
                  </a:lnTo>
                  <a:cubicBezTo>
                    <a:pt x="3321" y="1829"/>
                    <a:pt x="3264" y="1873"/>
                    <a:pt x="3264" y="1933"/>
                  </a:cubicBezTo>
                  <a:lnTo>
                    <a:pt x="3264" y="5440"/>
                  </a:lnTo>
                  <a:lnTo>
                    <a:pt x="3627" y="5440"/>
                  </a:lnTo>
                  <a:lnTo>
                    <a:pt x="3627" y="4714"/>
                  </a:lnTo>
                  <a:cubicBezTo>
                    <a:pt x="3627" y="4664"/>
                    <a:pt x="3667" y="4624"/>
                    <a:pt x="3717" y="4624"/>
                  </a:cubicBezTo>
                  <a:lnTo>
                    <a:pt x="4080" y="4624"/>
                  </a:lnTo>
                  <a:cubicBezTo>
                    <a:pt x="4130" y="4624"/>
                    <a:pt x="4171" y="4664"/>
                    <a:pt x="4171" y="4714"/>
                  </a:cubicBezTo>
                  <a:lnTo>
                    <a:pt x="4171" y="5440"/>
                  </a:lnTo>
                  <a:lnTo>
                    <a:pt x="6165" y="5440"/>
                  </a:lnTo>
                  <a:lnTo>
                    <a:pt x="6165" y="2698"/>
                  </a:lnTo>
                  <a:cubicBezTo>
                    <a:pt x="6165" y="2657"/>
                    <a:pt x="6138" y="2621"/>
                    <a:pt x="6099" y="2610"/>
                  </a:cubicBezTo>
                  <a:close/>
                  <a:moveTo>
                    <a:pt x="4171" y="4216"/>
                  </a:moveTo>
                  <a:cubicBezTo>
                    <a:pt x="4171" y="4241"/>
                    <a:pt x="4150" y="4261"/>
                    <a:pt x="4125" y="4261"/>
                  </a:cubicBezTo>
                  <a:lnTo>
                    <a:pt x="3672" y="4261"/>
                  </a:lnTo>
                  <a:cubicBezTo>
                    <a:pt x="3647" y="4261"/>
                    <a:pt x="3627" y="4241"/>
                    <a:pt x="3627" y="4216"/>
                  </a:cubicBezTo>
                  <a:lnTo>
                    <a:pt x="3627" y="3762"/>
                  </a:lnTo>
                  <a:cubicBezTo>
                    <a:pt x="3627" y="3737"/>
                    <a:pt x="3647" y="3717"/>
                    <a:pt x="3672" y="3717"/>
                  </a:cubicBezTo>
                  <a:lnTo>
                    <a:pt x="4125" y="3717"/>
                  </a:lnTo>
                  <a:cubicBezTo>
                    <a:pt x="4150" y="3717"/>
                    <a:pt x="4171" y="3737"/>
                    <a:pt x="4171" y="3762"/>
                  </a:cubicBezTo>
                  <a:lnTo>
                    <a:pt x="4171" y="4216"/>
                  </a:lnTo>
                  <a:close/>
                  <a:moveTo>
                    <a:pt x="4171" y="3218"/>
                  </a:moveTo>
                  <a:cubicBezTo>
                    <a:pt x="4171" y="3243"/>
                    <a:pt x="4150" y="3264"/>
                    <a:pt x="4125" y="3264"/>
                  </a:cubicBezTo>
                  <a:lnTo>
                    <a:pt x="3672" y="3264"/>
                  </a:lnTo>
                  <a:cubicBezTo>
                    <a:pt x="3647" y="3264"/>
                    <a:pt x="3627" y="3243"/>
                    <a:pt x="3627" y="3218"/>
                  </a:cubicBezTo>
                  <a:lnTo>
                    <a:pt x="3627" y="2765"/>
                  </a:lnTo>
                  <a:cubicBezTo>
                    <a:pt x="3627" y="2740"/>
                    <a:pt x="3647" y="2720"/>
                    <a:pt x="3672" y="2720"/>
                  </a:cubicBezTo>
                  <a:lnTo>
                    <a:pt x="4125" y="2720"/>
                  </a:lnTo>
                  <a:cubicBezTo>
                    <a:pt x="4150" y="2720"/>
                    <a:pt x="4171" y="2740"/>
                    <a:pt x="4171" y="2765"/>
                  </a:cubicBezTo>
                  <a:lnTo>
                    <a:pt x="4171" y="3218"/>
                  </a:lnTo>
                  <a:close/>
                  <a:moveTo>
                    <a:pt x="4987" y="4216"/>
                  </a:moveTo>
                  <a:cubicBezTo>
                    <a:pt x="4987" y="4241"/>
                    <a:pt x="4966" y="4261"/>
                    <a:pt x="4941" y="4261"/>
                  </a:cubicBezTo>
                  <a:lnTo>
                    <a:pt x="4488" y="4261"/>
                  </a:lnTo>
                  <a:cubicBezTo>
                    <a:pt x="4463" y="4261"/>
                    <a:pt x="4443" y="4241"/>
                    <a:pt x="4443" y="4216"/>
                  </a:cubicBezTo>
                  <a:lnTo>
                    <a:pt x="4443" y="3762"/>
                  </a:lnTo>
                  <a:cubicBezTo>
                    <a:pt x="4443" y="3737"/>
                    <a:pt x="4463" y="3717"/>
                    <a:pt x="4488" y="3717"/>
                  </a:cubicBezTo>
                  <a:lnTo>
                    <a:pt x="4941" y="3717"/>
                  </a:lnTo>
                  <a:cubicBezTo>
                    <a:pt x="4966" y="3717"/>
                    <a:pt x="4987" y="3737"/>
                    <a:pt x="4987" y="3762"/>
                  </a:cubicBezTo>
                  <a:lnTo>
                    <a:pt x="4987" y="4216"/>
                  </a:lnTo>
                  <a:close/>
                  <a:moveTo>
                    <a:pt x="4987" y="3218"/>
                  </a:moveTo>
                  <a:cubicBezTo>
                    <a:pt x="4987" y="3243"/>
                    <a:pt x="4966" y="3264"/>
                    <a:pt x="4941" y="3264"/>
                  </a:cubicBezTo>
                  <a:lnTo>
                    <a:pt x="4488" y="3264"/>
                  </a:lnTo>
                  <a:cubicBezTo>
                    <a:pt x="4463" y="3264"/>
                    <a:pt x="4443" y="3243"/>
                    <a:pt x="4443" y="3218"/>
                  </a:cubicBezTo>
                  <a:lnTo>
                    <a:pt x="4443" y="2765"/>
                  </a:lnTo>
                  <a:cubicBezTo>
                    <a:pt x="4443" y="2740"/>
                    <a:pt x="4463" y="2720"/>
                    <a:pt x="4488" y="2720"/>
                  </a:cubicBezTo>
                  <a:lnTo>
                    <a:pt x="4941" y="2720"/>
                  </a:lnTo>
                  <a:cubicBezTo>
                    <a:pt x="4966" y="2720"/>
                    <a:pt x="4987" y="2740"/>
                    <a:pt x="4987" y="2765"/>
                  </a:cubicBezTo>
                  <a:lnTo>
                    <a:pt x="4987" y="3218"/>
                  </a:lnTo>
                  <a:close/>
                  <a:moveTo>
                    <a:pt x="5803" y="4216"/>
                  </a:moveTo>
                  <a:cubicBezTo>
                    <a:pt x="5803" y="4241"/>
                    <a:pt x="5782" y="4261"/>
                    <a:pt x="5757" y="4261"/>
                  </a:cubicBezTo>
                  <a:lnTo>
                    <a:pt x="5304" y="4261"/>
                  </a:lnTo>
                  <a:cubicBezTo>
                    <a:pt x="5279" y="4261"/>
                    <a:pt x="5259" y="4241"/>
                    <a:pt x="5259" y="4216"/>
                  </a:cubicBezTo>
                  <a:lnTo>
                    <a:pt x="5259" y="3762"/>
                  </a:lnTo>
                  <a:cubicBezTo>
                    <a:pt x="5259" y="3737"/>
                    <a:pt x="5279" y="3717"/>
                    <a:pt x="5304" y="3717"/>
                  </a:cubicBezTo>
                  <a:lnTo>
                    <a:pt x="5757" y="3717"/>
                  </a:lnTo>
                  <a:cubicBezTo>
                    <a:pt x="5782" y="3717"/>
                    <a:pt x="5803" y="3737"/>
                    <a:pt x="5803" y="3762"/>
                  </a:cubicBezTo>
                  <a:lnTo>
                    <a:pt x="5803" y="4216"/>
                  </a:lnTo>
                  <a:close/>
                  <a:moveTo>
                    <a:pt x="5803" y="3218"/>
                  </a:moveTo>
                  <a:cubicBezTo>
                    <a:pt x="5803" y="3243"/>
                    <a:pt x="5782" y="3264"/>
                    <a:pt x="5757" y="3264"/>
                  </a:cubicBezTo>
                  <a:lnTo>
                    <a:pt x="5304" y="3264"/>
                  </a:lnTo>
                  <a:cubicBezTo>
                    <a:pt x="5279" y="3264"/>
                    <a:pt x="5259" y="3243"/>
                    <a:pt x="5259" y="3218"/>
                  </a:cubicBezTo>
                  <a:lnTo>
                    <a:pt x="5259" y="2765"/>
                  </a:lnTo>
                  <a:cubicBezTo>
                    <a:pt x="5259" y="2740"/>
                    <a:pt x="5279" y="2720"/>
                    <a:pt x="5304" y="2720"/>
                  </a:cubicBezTo>
                  <a:lnTo>
                    <a:pt x="5757" y="2720"/>
                  </a:lnTo>
                  <a:cubicBezTo>
                    <a:pt x="5782" y="2720"/>
                    <a:pt x="5803" y="2740"/>
                    <a:pt x="5803" y="2765"/>
                  </a:cubicBezTo>
                  <a:lnTo>
                    <a:pt x="5803" y="32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78573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正确佩戴口罩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100" y="2139412"/>
            <a:ext cx="10845800" cy="2998275"/>
            <a:chOff x="673100" y="2139412"/>
            <a:chExt cx="10845800" cy="2998275"/>
          </a:xfrm>
        </p:grpSpPr>
        <p:grpSp>
          <p:nvGrpSpPr>
            <p:cNvPr id="6" name="组合 5"/>
            <p:cNvGrpSpPr/>
            <p:nvPr/>
          </p:nvGrpSpPr>
          <p:grpSpPr>
            <a:xfrm>
              <a:off x="4233264" y="2139412"/>
              <a:ext cx="3725471" cy="2903257"/>
              <a:chOff x="4105270" y="2172550"/>
              <a:chExt cx="3725471" cy="2903257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42A74274-893B-4F91-BE3F-3932F4746D3F}"/>
                  </a:ext>
                </a:extLst>
              </p:cNvPr>
              <p:cNvSpPr/>
              <p:nvPr/>
            </p:nvSpPr>
            <p:spPr>
              <a:xfrm flipH="1">
                <a:off x="4105270" y="2201293"/>
                <a:ext cx="2247773" cy="1735792"/>
              </a:xfrm>
              <a:custGeom>
                <a:avLst/>
                <a:gdLst>
                  <a:gd name="connsiteX0" fmla="*/ 1500961 w 2402522"/>
                  <a:gd name="connsiteY0" fmla="*/ 379 h 1855293"/>
                  <a:gd name="connsiteX1" fmla="*/ 2258040 w 2402522"/>
                  <a:gd name="connsiteY1" fmla="*/ 430391 h 1855293"/>
                  <a:gd name="connsiteX2" fmla="*/ 2324916 w 2402522"/>
                  <a:gd name="connsiteY2" fmla="*/ 1298497 h 1855293"/>
                  <a:gd name="connsiteX3" fmla="*/ 1972131 w 2402522"/>
                  <a:gd name="connsiteY3" fmla="*/ 1709958 h 1855293"/>
                  <a:gd name="connsiteX4" fmla="*/ 1804289 w 2402522"/>
                  <a:gd name="connsiteY4" fmla="*/ 1794183 h 1855293"/>
                  <a:gd name="connsiteX5" fmla="*/ 1703481 w 2402522"/>
                  <a:gd name="connsiteY5" fmla="*/ 1821496 h 1855293"/>
                  <a:gd name="connsiteX6" fmla="*/ 1705549 w 2402522"/>
                  <a:gd name="connsiteY6" fmla="*/ 1824741 h 1855293"/>
                  <a:gd name="connsiteX7" fmla="*/ 1686949 w 2402522"/>
                  <a:gd name="connsiteY7" fmla="*/ 1825975 h 1855293"/>
                  <a:gd name="connsiteX8" fmla="*/ 1628410 w 2402522"/>
                  <a:gd name="connsiteY8" fmla="*/ 1841834 h 1855293"/>
                  <a:gd name="connsiteX9" fmla="*/ 1539068 w 2402522"/>
                  <a:gd name="connsiteY9" fmla="*/ 1852302 h 1855293"/>
                  <a:gd name="connsiteX10" fmla="*/ 1472337 w 2402522"/>
                  <a:gd name="connsiteY10" fmla="*/ 1853614 h 1855293"/>
                  <a:gd name="connsiteX11" fmla="*/ 1472337 w 2402522"/>
                  <a:gd name="connsiteY11" fmla="*/ 1855293 h 1855293"/>
                  <a:gd name="connsiteX12" fmla="*/ 0 w 2402522"/>
                  <a:gd name="connsiteY12" fmla="*/ 1855293 h 1855293"/>
                  <a:gd name="connsiteX13" fmla="*/ 369083 w 2402522"/>
                  <a:gd name="connsiteY13" fmla="*/ 1074912 h 1855293"/>
                  <a:gd name="connsiteX14" fmla="*/ 444650 w 2402522"/>
                  <a:gd name="connsiteY14" fmla="*/ 931337 h 1855293"/>
                  <a:gd name="connsiteX15" fmla="*/ 644898 w 2402522"/>
                  <a:gd name="connsiteY15" fmla="*/ 514845 h 1855293"/>
                  <a:gd name="connsiteX16" fmla="*/ 645800 w 2402522"/>
                  <a:gd name="connsiteY16" fmla="*/ 515278 h 1855293"/>
                  <a:gd name="connsiteX17" fmla="*/ 665339 w 2402522"/>
                  <a:gd name="connsiteY17" fmla="*/ 475771 h 1855293"/>
                  <a:gd name="connsiteX18" fmla="*/ 712840 w 2402522"/>
                  <a:gd name="connsiteY18" fmla="*/ 399380 h 1855293"/>
                  <a:gd name="connsiteX19" fmla="*/ 750416 w 2402522"/>
                  <a:gd name="connsiteY19" fmla="*/ 350396 h 1855293"/>
                  <a:gd name="connsiteX20" fmla="*/ 757540 w 2402522"/>
                  <a:gd name="connsiteY20" fmla="*/ 336863 h 1855293"/>
                  <a:gd name="connsiteX21" fmla="*/ 759019 w 2402522"/>
                  <a:gd name="connsiteY21" fmla="*/ 339183 h 1855293"/>
                  <a:gd name="connsiteX22" fmla="*/ 768048 w 2402522"/>
                  <a:gd name="connsiteY22" fmla="*/ 327413 h 1855293"/>
                  <a:gd name="connsiteX23" fmla="*/ 978474 w 2402522"/>
                  <a:gd name="connsiteY23" fmla="*/ 144481 h 1855293"/>
                  <a:gd name="connsiteX24" fmla="*/ 1500961 w 2402522"/>
                  <a:gd name="connsiteY24" fmla="*/ 379 h 1855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402522" h="1855293">
                    <a:moveTo>
                      <a:pt x="1500961" y="379"/>
                    </a:moveTo>
                    <a:cubicBezTo>
                      <a:pt x="1798454" y="8885"/>
                      <a:pt x="2086546" y="160207"/>
                      <a:pt x="2258040" y="430391"/>
                    </a:cubicBezTo>
                    <a:cubicBezTo>
                      <a:pt x="2429535" y="700575"/>
                      <a:pt x="2443843" y="1025676"/>
                      <a:pt x="2324916" y="1298497"/>
                    </a:cubicBezTo>
                    <a:cubicBezTo>
                      <a:pt x="2253561" y="1462190"/>
                      <a:pt x="2134241" y="1607061"/>
                      <a:pt x="1972131" y="1709958"/>
                    </a:cubicBezTo>
                    <a:cubicBezTo>
                      <a:pt x="1918094" y="1744257"/>
                      <a:pt x="1861861" y="1772268"/>
                      <a:pt x="1804289" y="1794183"/>
                    </a:cubicBezTo>
                    <a:lnTo>
                      <a:pt x="1703481" y="1821496"/>
                    </a:lnTo>
                    <a:lnTo>
                      <a:pt x="1705549" y="1824741"/>
                    </a:lnTo>
                    <a:lnTo>
                      <a:pt x="1686949" y="1825975"/>
                    </a:lnTo>
                    <a:lnTo>
                      <a:pt x="1628410" y="1841834"/>
                    </a:lnTo>
                    <a:cubicBezTo>
                      <a:pt x="1598714" y="1846791"/>
                      <a:pt x="1568897" y="1850273"/>
                      <a:pt x="1539068" y="1852302"/>
                    </a:cubicBezTo>
                    <a:lnTo>
                      <a:pt x="1472337" y="1853614"/>
                    </a:lnTo>
                    <a:lnTo>
                      <a:pt x="1472337" y="1855293"/>
                    </a:lnTo>
                    <a:lnTo>
                      <a:pt x="0" y="1855293"/>
                    </a:lnTo>
                    <a:lnTo>
                      <a:pt x="369083" y="1074912"/>
                    </a:lnTo>
                    <a:lnTo>
                      <a:pt x="444650" y="931337"/>
                    </a:lnTo>
                    <a:lnTo>
                      <a:pt x="644898" y="514845"/>
                    </a:lnTo>
                    <a:lnTo>
                      <a:pt x="645800" y="515278"/>
                    </a:lnTo>
                    <a:lnTo>
                      <a:pt x="665339" y="475771"/>
                    </a:lnTo>
                    <a:cubicBezTo>
                      <a:pt x="679872" y="449642"/>
                      <a:pt x="695714" y="424142"/>
                      <a:pt x="712840" y="399380"/>
                    </a:cubicBezTo>
                    <a:lnTo>
                      <a:pt x="750416" y="350396"/>
                    </a:lnTo>
                    <a:lnTo>
                      <a:pt x="757540" y="336863"/>
                    </a:lnTo>
                    <a:lnTo>
                      <a:pt x="759019" y="339183"/>
                    </a:lnTo>
                    <a:lnTo>
                      <a:pt x="768048" y="327413"/>
                    </a:lnTo>
                    <a:cubicBezTo>
                      <a:pt x="827061" y="257872"/>
                      <a:pt x="897418" y="195929"/>
                      <a:pt x="978474" y="144481"/>
                    </a:cubicBezTo>
                    <a:cubicBezTo>
                      <a:pt x="1140584" y="41585"/>
                      <a:pt x="1322465" y="-4725"/>
                      <a:pt x="1500961" y="37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72A3D715-A426-4630-AC7B-865CF0245C7B}"/>
                  </a:ext>
                </a:extLst>
              </p:cNvPr>
              <p:cNvSpPr/>
              <p:nvPr/>
            </p:nvSpPr>
            <p:spPr>
              <a:xfrm flipH="1" flipV="1">
                <a:off x="4749189" y="3937085"/>
                <a:ext cx="1474595" cy="1138722"/>
              </a:xfrm>
              <a:custGeom>
                <a:avLst/>
                <a:gdLst>
                  <a:gd name="connsiteX0" fmla="*/ 1500961 w 2402522"/>
                  <a:gd name="connsiteY0" fmla="*/ 379 h 1855293"/>
                  <a:gd name="connsiteX1" fmla="*/ 2258040 w 2402522"/>
                  <a:gd name="connsiteY1" fmla="*/ 430391 h 1855293"/>
                  <a:gd name="connsiteX2" fmla="*/ 2324916 w 2402522"/>
                  <a:gd name="connsiteY2" fmla="*/ 1298497 h 1855293"/>
                  <a:gd name="connsiteX3" fmla="*/ 1972131 w 2402522"/>
                  <a:gd name="connsiteY3" fmla="*/ 1709958 h 1855293"/>
                  <a:gd name="connsiteX4" fmla="*/ 1804289 w 2402522"/>
                  <a:gd name="connsiteY4" fmla="*/ 1794183 h 1855293"/>
                  <a:gd name="connsiteX5" fmla="*/ 1703481 w 2402522"/>
                  <a:gd name="connsiteY5" fmla="*/ 1821496 h 1855293"/>
                  <a:gd name="connsiteX6" fmla="*/ 1705549 w 2402522"/>
                  <a:gd name="connsiteY6" fmla="*/ 1824741 h 1855293"/>
                  <a:gd name="connsiteX7" fmla="*/ 1686949 w 2402522"/>
                  <a:gd name="connsiteY7" fmla="*/ 1825975 h 1855293"/>
                  <a:gd name="connsiteX8" fmla="*/ 1628410 w 2402522"/>
                  <a:gd name="connsiteY8" fmla="*/ 1841834 h 1855293"/>
                  <a:gd name="connsiteX9" fmla="*/ 1539068 w 2402522"/>
                  <a:gd name="connsiteY9" fmla="*/ 1852302 h 1855293"/>
                  <a:gd name="connsiteX10" fmla="*/ 1472337 w 2402522"/>
                  <a:gd name="connsiteY10" fmla="*/ 1853614 h 1855293"/>
                  <a:gd name="connsiteX11" fmla="*/ 1472337 w 2402522"/>
                  <a:gd name="connsiteY11" fmla="*/ 1855293 h 1855293"/>
                  <a:gd name="connsiteX12" fmla="*/ 0 w 2402522"/>
                  <a:gd name="connsiteY12" fmla="*/ 1855293 h 1855293"/>
                  <a:gd name="connsiteX13" fmla="*/ 369083 w 2402522"/>
                  <a:gd name="connsiteY13" fmla="*/ 1074912 h 1855293"/>
                  <a:gd name="connsiteX14" fmla="*/ 444650 w 2402522"/>
                  <a:gd name="connsiteY14" fmla="*/ 931337 h 1855293"/>
                  <a:gd name="connsiteX15" fmla="*/ 644898 w 2402522"/>
                  <a:gd name="connsiteY15" fmla="*/ 514845 h 1855293"/>
                  <a:gd name="connsiteX16" fmla="*/ 645800 w 2402522"/>
                  <a:gd name="connsiteY16" fmla="*/ 515278 h 1855293"/>
                  <a:gd name="connsiteX17" fmla="*/ 665339 w 2402522"/>
                  <a:gd name="connsiteY17" fmla="*/ 475771 h 1855293"/>
                  <a:gd name="connsiteX18" fmla="*/ 712840 w 2402522"/>
                  <a:gd name="connsiteY18" fmla="*/ 399380 h 1855293"/>
                  <a:gd name="connsiteX19" fmla="*/ 750416 w 2402522"/>
                  <a:gd name="connsiteY19" fmla="*/ 350396 h 1855293"/>
                  <a:gd name="connsiteX20" fmla="*/ 757540 w 2402522"/>
                  <a:gd name="connsiteY20" fmla="*/ 336863 h 1855293"/>
                  <a:gd name="connsiteX21" fmla="*/ 759019 w 2402522"/>
                  <a:gd name="connsiteY21" fmla="*/ 339183 h 1855293"/>
                  <a:gd name="connsiteX22" fmla="*/ 768048 w 2402522"/>
                  <a:gd name="connsiteY22" fmla="*/ 327413 h 1855293"/>
                  <a:gd name="connsiteX23" fmla="*/ 978474 w 2402522"/>
                  <a:gd name="connsiteY23" fmla="*/ 144481 h 1855293"/>
                  <a:gd name="connsiteX24" fmla="*/ 1500961 w 2402522"/>
                  <a:gd name="connsiteY24" fmla="*/ 379 h 1855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402522" h="1855293">
                    <a:moveTo>
                      <a:pt x="1500961" y="379"/>
                    </a:moveTo>
                    <a:cubicBezTo>
                      <a:pt x="1798454" y="8885"/>
                      <a:pt x="2086546" y="160207"/>
                      <a:pt x="2258040" y="430391"/>
                    </a:cubicBezTo>
                    <a:cubicBezTo>
                      <a:pt x="2429535" y="700575"/>
                      <a:pt x="2443843" y="1025676"/>
                      <a:pt x="2324916" y="1298497"/>
                    </a:cubicBezTo>
                    <a:cubicBezTo>
                      <a:pt x="2253561" y="1462190"/>
                      <a:pt x="2134241" y="1607061"/>
                      <a:pt x="1972131" y="1709958"/>
                    </a:cubicBezTo>
                    <a:cubicBezTo>
                      <a:pt x="1918094" y="1744257"/>
                      <a:pt x="1861861" y="1772268"/>
                      <a:pt x="1804289" y="1794183"/>
                    </a:cubicBezTo>
                    <a:lnTo>
                      <a:pt x="1703481" y="1821496"/>
                    </a:lnTo>
                    <a:lnTo>
                      <a:pt x="1705549" y="1824741"/>
                    </a:lnTo>
                    <a:lnTo>
                      <a:pt x="1686949" y="1825975"/>
                    </a:lnTo>
                    <a:lnTo>
                      <a:pt x="1628410" y="1841834"/>
                    </a:lnTo>
                    <a:cubicBezTo>
                      <a:pt x="1598714" y="1846791"/>
                      <a:pt x="1568897" y="1850273"/>
                      <a:pt x="1539068" y="1852302"/>
                    </a:cubicBezTo>
                    <a:lnTo>
                      <a:pt x="1472337" y="1853614"/>
                    </a:lnTo>
                    <a:lnTo>
                      <a:pt x="1472337" y="1855293"/>
                    </a:lnTo>
                    <a:lnTo>
                      <a:pt x="0" y="1855293"/>
                    </a:lnTo>
                    <a:lnTo>
                      <a:pt x="369083" y="1074912"/>
                    </a:lnTo>
                    <a:lnTo>
                      <a:pt x="444650" y="931337"/>
                    </a:lnTo>
                    <a:lnTo>
                      <a:pt x="644898" y="514845"/>
                    </a:lnTo>
                    <a:lnTo>
                      <a:pt x="645800" y="515278"/>
                    </a:lnTo>
                    <a:lnTo>
                      <a:pt x="665339" y="475771"/>
                    </a:lnTo>
                    <a:cubicBezTo>
                      <a:pt x="679872" y="449642"/>
                      <a:pt x="695714" y="424142"/>
                      <a:pt x="712840" y="399380"/>
                    </a:cubicBezTo>
                    <a:lnTo>
                      <a:pt x="750416" y="350396"/>
                    </a:lnTo>
                    <a:lnTo>
                      <a:pt x="757540" y="336863"/>
                    </a:lnTo>
                    <a:lnTo>
                      <a:pt x="759019" y="339183"/>
                    </a:lnTo>
                    <a:lnTo>
                      <a:pt x="768048" y="327413"/>
                    </a:lnTo>
                    <a:cubicBezTo>
                      <a:pt x="827061" y="257872"/>
                      <a:pt x="897418" y="195929"/>
                      <a:pt x="978474" y="144481"/>
                    </a:cubicBezTo>
                    <a:cubicBezTo>
                      <a:pt x="1140584" y="41585"/>
                      <a:pt x="1322465" y="-4725"/>
                      <a:pt x="1500961" y="37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89FD79DB-5F1A-4C76-8413-542C42D4E06F}"/>
                  </a:ext>
                </a:extLst>
              </p:cNvPr>
              <p:cNvSpPr/>
              <p:nvPr/>
            </p:nvSpPr>
            <p:spPr>
              <a:xfrm rot="3940857">
                <a:off x="5838958" y="2428541"/>
                <a:ext cx="2247773" cy="1735792"/>
              </a:xfrm>
              <a:custGeom>
                <a:avLst/>
                <a:gdLst>
                  <a:gd name="connsiteX0" fmla="*/ 1500961 w 2402522"/>
                  <a:gd name="connsiteY0" fmla="*/ 379 h 1855293"/>
                  <a:gd name="connsiteX1" fmla="*/ 2258040 w 2402522"/>
                  <a:gd name="connsiteY1" fmla="*/ 430391 h 1855293"/>
                  <a:gd name="connsiteX2" fmla="*/ 2324916 w 2402522"/>
                  <a:gd name="connsiteY2" fmla="*/ 1298497 h 1855293"/>
                  <a:gd name="connsiteX3" fmla="*/ 1972131 w 2402522"/>
                  <a:gd name="connsiteY3" fmla="*/ 1709958 h 1855293"/>
                  <a:gd name="connsiteX4" fmla="*/ 1804289 w 2402522"/>
                  <a:gd name="connsiteY4" fmla="*/ 1794183 h 1855293"/>
                  <a:gd name="connsiteX5" fmla="*/ 1703481 w 2402522"/>
                  <a:gd name="connsiteY5" fmla="*/ 1821496 h 1855293"/>
                  <a:gd name="connsiteX6" fmla="*/ 1705549 w 2402522"/>
                  <a:gd name="connsiteY6" fmla="*/ 1824741 h 1855293"/>
                  <a:gd name="connsiteX7" fmla="*/ 1686949 w 2402522"/>
                  <a:gd name="connsiteY7" fmla="*/ 1825975 h 1855293"/>
                  <a:gd name="connsiteX8" fmla="*/ 1628410 w 2402522"/>
                  <a:gd name="connsiteY8" fmla="*/ 1841834 h 1855293"/>
                  <a:gd name="connsiteX9" fmla="*/ 1539068 w 2402522"/>
                  <a:gd name="connsiteY9" fmla="*/ 1852302 h 1855293"/>
                  <a:gd name="connsiteX10" fmla="*/ 1472337 w 2402522"/>
                  <a:gd name="connsiteY10" fmla="*/ 1853614 h 1855293"/>
                  <a:gd name="connsiteX11" fmla="*/ 1472337 w 2402522"/>
                  <a:gd name="connsiteY11" fmla="*/ 1855293 h 1855293"/>
                  <a:gd name="connsiteX12" fmla="*/ 0 w 2402522"/>
                  <a:gd name="connsiteY12" fmla="*/ 1855293 h 1855293"/>
                  <a:gd name="connsiteX13" fmla="*/ 369083 w 2402522"/>
                  <a:gd name="connsiteY13" fmla="*/ 1074912 h 1855293"/>
                  <a:gd name="connsiteX14" fmla="*/ 444650 w 2402522"/>
                  <a:gd name="connsiteY14" fmla="*/ 931337 h 1855293"/>
                  <a:gd name="connsiteX15" fmla="*/ 644898 w 2402522"/>
                  <a:gd name="connsiteY15" fmla="*/ 514845 h 1855293"/>
                  <a:gd name="connsiteX16" fmla="*/ 645800 w 2402522"/>
                  <a:gd name="connsiteY16" fmla="*/ 515278 h 1855293"/>
                  <a:gd name="connsiteX17" fmla="*/ 665339 w 2402522"/>
                  <a:gd name="connsiteY17" fmla="*/ 475771 h 1855293"/>
                  <a:gd name="connsiteX18" fmla="*/ 712840 w 2402522"/>
                  <a:gd name="connsiteY18" fmla="*/ 399380 h 1855293"/>
                  <a:gd name="connsiteX19" fmla="*/ 750416 w 2402522"/>
                  <a:gd name="connsiteY19" fmla="*/ 350396 h 1855293"/>
                  <a:gd name="connsiteX20" fmla="*/ 757540 w 2402522"/>
                  <a:gd name="connsiteY20" fmla="*/ 336863 h 1855293"/>
                  <a:gd name="connsiteX21" fmla="*/ 759019 w 2402522"/>
                  <a:gd name="connsiteY21" fmla="*/ 339183 h 1855293"/>
                  <a:gd name="connsiteX22" fmla="*/ 768048 w 2402522"/>
                  <a:gd name="connsiteY22" fmla="*/ 327413 h 1855293"/>
                  <a:gd name="connsiteX23" fmla="*/ 978474 w 2402522"/>
                  <a:gd name="connsiteY23" fmla="*/ 144481 h 1855293"/>
                  <a:gd name="connsiteX24" fmla="*/ 1500961 w 2402522"/>
                  <a:gd name="connsiteY24" fmla="*/ 379 h 1855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402522" h="1855293">
                    <a:moveTo>
                      <a:pt x="1500961" y="379"/>
                    </a:moveTo>
                    <a:cubicBezTo>
                      <a:pt x="1798454" y="8885"/>
                      <a:pt x="2086546" y="160207"/>
                      <a:pt x="2258040" y="430391"/>
                    </a:cubicBezTo>
                    <a:cubicBezTo>
                      <a:pt x="2429535" y="700575"/>
                      <a:pt x="2443843" y="1025676"/>
                      <a:pt x="2324916" y="1298497"/>
                    </a:cubicBezTo>
                    <a:cubicBezTo>
                      <a:pt x="2253561" y="1462190"/>
                      <a:pt x="2134241" y="1607061"/>
                      <a:pt x="1972131" y="1709958"/>
                    </a:cubicBezTo>
                    <a:cubicBezTo>
                      <a:pt x="1918094" y="1744257"/>
                      <a:pt x="1861861" y="1772268"/>
                      <a:pt x="1804289" y="1794183"/>
                    </a:cubicBezTo>
                    <a:lnTo>
                      <a:pt x="1703481" y="1821496"/>
                    </a:lnTo>
                    <a:lnTo>
                      <a:pt x="1705549" y="1824741"/>
                    </a:lnTo>
                    <a:lnTo>
                      <a:pt x="1686949" y="1825975"/>
                    </a:lnTo>
                    <a:lnTo>
                      <a:pt x="1628410" y="1841834"/>
                    </a:lnTo>
                    <a:cubicBezTo>
                      <a:pt x="1598714" y="1846791"/>
                      <a:pt x="1568897" y="1850273"/>
                      <a:pt x="1539068" y="1852302"/>
                    </a:cubicBezTo>
                    <a:lnTo>
                      <a:pt x="1472337" y="1853614"/>
                    </a:lnTo>
                    <a:lnTo>
                      <a:pt x="1472337" y="1855293"/>
                    </a:lnTo>
                    <a:lnTo>
                      <a:pt x="0" y="1855293"/>
                    </a:lnTo>
                    <a:lnTo>
                      <a:pt x="369083" y="1074912"/>
                    </a:lnTo>
                    <a:lnTo>
                      <a:pt x="444650" y="931337"/>
                    </a:lnTo>
                    <a:lnTo>
                      <a:pt x="644898" y="514845"/>
                    </a:lnTo>
                    <a:lnTo>
                      <a:pt x="645800" y="515278"/>
                    </a:lnTo>
                    <a:lnTo>
                      <a:pt x="665339" y="475771"/>
                    </a:lnTo>
                    <a:cubicBezTo>
                      <a:pt x="679872" y="449642"/>
                      <a:pt x="695714" y="424142"/>
                      <a:pt x="712840" y="399380"/>
                    </a:cubicBezTo>
                    <a:lnTo>
                      <a:pt x="750416" y="350396"/>
                    </a:lnTo>
                    <a:lnTo>
                      <a:pt x="757540" y="336863"/>
                    </a:lnTo>
                    <a:lnTo>
                      <a:pt x="759019" y="339183"/>
                    </a:lnTo>
                    <a:lnTo>
                      <a:pt x="768048" y="327413"/>
                    </a:lnTo>
                    <a:cubicBezTo>
                      <a:pt x="827061" y="257872"/>
                      <a:pt x="897418" y="195929"/>
                      <a:pt x="978474" y="144481"/>
                    </a:cubicBezTo>
                    <a:cubicBezTo>
                      <a:pt x="1140584" y="41585"/>
                      <a:pt x="1322465" y="-4725"/>
                      <a:pt x="1500961" y="37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" name="任意多边形: 形状 20"/>
              <p:cNvSpPr/>
              <p:nvPr/>
            </p:nvSpPr>
            <p:spPr>
              <a:xfrm>
                <a:off x="4772212" y="2802682"/>
                <a:ext cx="494397" cy="611250"/>
              </a:xfrm>
              <a:custGeom>
                <a:avLst/>
                <a:gdLst>
                  <a:gd name="connsiteX0" fmla="*/ 56946 w 489936"/>
                  <a:gd name="connsiteY0" fmla="*/ 454159 h 605734"/>
                  <a:gd name="connsiteX1" fmla="*/ 432989 w 489936"/>
                  <a:gd name="connsiteY1" fmla="*/ 454159 h 605734"/>
                  <a:gd name="connsiteX2" fmla="*/ 432989 w 489936"/>
                  <a:gd name="connsiteY2" fmla="*/ 552245 h 605734"/>
                  <a:gd name="connsiteX3" fmla="*/ 56946 w 489936"/>
                  <a:gd name="connsiteY3" fmla="*/ 552245 h 605734"/>
                  <a:gd name="connsiteX4" fmla="*/ 218027 w 489936"/>
                  <a:gd name="connsiteY4" fmla="*/ 167240 h 605734"/>
                  <a:gd name="connsiteX5" fmla="*/ 270224 w 489936"/>
                  <a:gd name="connsiteY5" fmla="*/ 343219 h 605734"/>
                  <a:gd name="connsiteX6" fmla="*/ 322421 w 489936"/>
                  <a:gd name="connsiteY6" fmla="*/ 269521 h 605734"/>
                  <a:gd name="connsiteX7" fmla="*/ 361990 w 489936"/>
                  <a:gd name="connsiteY7" fmla="*/ 314636 h 605734"/>
                  <a:gd name="connsiteX8" fmla="*/ 432989 w 489936"/>
                  <a:gd name="connsiteY8" fmla="*/ 314636 h 605734"/>
                  <a:gd name="connsiteX9" fmla="*/ 432989 w 489936"/>
                  <a:gd name="connsiteY9" fmla="*/ 333411 h 605734"/>
                  <a:gd name="connsiteX10" fmla="*/ 353290 w 489936"/>
                  <a:gd name="connsiteY10" fmla="*/ 333411 h 605734"/>
                  <a:gd name="connsiteX11" fmla="*/ 324105 w 489936"/>
                  <a:gd name="connsiteY11" fmla="*/ 299785 h 605734"/>
                  <a:gd name="connsiteX12" fmla="*/ 263208 w 489936"/>
                  <a:gd name="connsiteY12" fmla="*/ 385812 h 605734"/>
                  <a:gd name="connsiteX13" fmla="*/ 224762 w 489936"/>
                  <a:gd name="connsiteY13" fmla="*/ 255229 h 605734"/>
                  <a:gd name="connsiteX14" fmla="*/ 198664 w 489936"/>
                  <a:gd name="connsiteY14" fmla="*/ 438494 h 605734"/>
                  <a:gd name="connsiteX15" fmla="*/ 150395 w 489936"/>
                  <a:gd name="connsiteY15" fmla="*/ 300905 h 605734"/>
                  <a:gd name="connsiteX16" fmla="*/ 131313 w 489936"/>
                  <a:gd name="connsiteY16" fmla="*/ 333411 h 605734"/>
                  <a:gd name="connsiteX17" fmla="*/ 56946 w 489936"/>
                  <a:gd name="connsiteY17" fmla="*/ 333411 h 605734"/>
                  <a:gd name="connsiteX18" fmla="*/ 56946 w 489936"/>
                  <a:gd name="connsiteY18" fmla="*/ 314636 h 605734"/>
                  <a:gd name="connsiteX19" fmla="*/ 120368 w 489936"/>
                  <a:gd name="connsiteY19" fmla="*/ 314636 h 605734"/>
                  <a:gd name="connsiteX20" fmla="*/ 154605 w 489936"/>
                  <a:gd name="connsiteY20" fmla="*/ 256350 h 605734"/>
                  <a:gd name="connsiteX21" fmla="*/ 190806 w 489936"/>
                  <a:gd name="connsiteY21" fmla="*/ 359472 h 605734"/>
                  <a:gd name="connsiteX22" fmla="*/ 23290 w 489936"/>
                  <a:gd name="connsiteY22" fmla="*/ 71444 h 605734"/>
                  <a:gd name="connsiteX23" fmla="*/ 23290 w 489936"/>
                  <a:gd name="connsiteY23" fmla="*/ 570712 h 605734"/>
                  <a:gd name="connsiteX24" fmla="*/ 35076 w 489936"/>
                  <a:gd name="connsiteY24" fmla="*/ 582199 h 605734"/>
                  <a:gd name="connsiteX25" fmla="*/ 454860 w 489936"/>
                  <a:gd name="connsiteY25" fmla="*/ 582199 h 605734"/>
                  <a:gd name="connsiteX26" fmla="*/ 466646 w 489936"/>
                  <a:gd name="connsiteY26" fmla="*/ 570712 h 605734"/>
                  <a:gd name="connsiteX27" fmla="*/ 466646 w 489936"/>
                  <a:gd name="connsiteY27" fmla="*/ 71444 h 605734"/>
                  <a:gd name="connsiteX28" fmla="*/ 440550 w 489936"/>
                  <a:gd name="connsiteY28" fmla="*/ 24935 h 605734"/>
                  <a:gd name="connsiteX29" fmla="*/ 423713 w 489936"/>
                  <a:gd name="connsiteY29" fmla="*/ 41466 h 605734"/>
                  <a:gd name="connsiteX30" fmla="*/ 440550 w 489936"/>
                  <a:gd name="connsiteY30" fmla="*/ 58276 h 605734"/>
                  <a:gd name="connsiteX31" fmla="*/ 457105 w 489936"/>
                  <a:gd name="connsiteY31" fmla="*/ 41466 h 605734"/>
                  <a:gd name="connsiteX32" fmla="*/ 440550 w 489936"/>
                  <a:gd name="connsiteY32" fmla="*/ 24935 h 605734"/>
                  <a:gd name="connsiteX33" fmla="*/ 384148 w 489936"/>
                  <a:gd name="connsiteY33" fmla="*/ 24935 h 605734"/>
                  <a:gd name="connsiteX34" fmla="*/ 367312 w 489936"/>
                  <a:gd name="connsiteY34" fmla="*/ 41466 h 605734"/>
                  <a:gd name="connsiteX35" fmla="*/ 384148 w 489936"/>
                  <a:gd name="connsiteY35" fmla="*/ 58276 h 605734"/>
                  <a:gd name="connsiteX36" fmla="*/ 400984 w 489936"/>
                  <a:gd name="connsiteY36" fmla="*/ 41466 h 605734"/>
                  <a:gd name="connsiteX37" fmla="*/ 384148 w 489936"/>
                  <a:gd name="connsiteY37" fmla="*/ 24935 h 605734"/>
                  <a:gd name="connsiteX38" fmla="*/ 327746 w 489936"/>
                  <a:gd name="connsiteY38" fmla="*/ 24935 h 605734"/>
                  <a:gd name="connsiteX39" fmla="*/ 311191 w 489936"/>
                  <a:gd name="connsiteY39" fmla="*/ 41466 h 605734"/>
                  <a:gd name="connsiteX40" fmla="*/ 327746 w 489936"/>
                  <a:gd name="connsiteY40" fmla="*/ 58276 h 605734"/>
                  <a:gd name="connsiteX41" fmla="*/ 344583 w 489936"/>
                  <a:gd name="connsiteY41" fmla="*/ 41466 h 605734"/>
                  <a:gd name="connsiteX42" fmla="*/ 327746 w 489936"/>
                  <a:gd name="connsiteY42" fmla="*/ 24935 h 605734"/>
                  <a:gd name="connsiteX43" fmla="*/ 35076 w 489936"/>
                  <a:gd name="connsiteY43" fmla="*/ 0 h 605734"/>
                  <a:gd name="connsiteX44" fmla="*/ 454860 w 489936"/>
                  <a:gd name="connsiteY44" fmla="*/ 0 h 605734"/>
                  <a:gd name="connsiteX45" fmla="*/ 489936 w 489936"/>
                  <a:gd name="connsiteY45" fmla="*/ 35022 h 605734"/>
                  <a:gd name="connsiteX46" fmla="*/ 489936 w 489936"/>
                  <a:gd name="connsiteY46" fmla="*/ 570712 h 605734"/>
                  <a:gd name="connsiteX47" fmla="*/ 454860 w 489936"/>
                  <a:gd name="connsiteY47" fmla="*/ 605734 h 605734"/>
                  <a:gd name="connsiteX48" fmla="*/ 35076 w 489936"/>
                  <a:gd name="connsiteY48" fmla="*/ 605734 h 605734"/>
                  <a:gd name="connsiteX49" fmla="*/ 0 w 489936"/>
                  <a:gd name="connsiteY49" fmla="*/ 570712 h 605734"/>
                  <a:gd name="connsiteX50" fmla="*/ 0 w 489936"/>
                  <a:gd name="connsiteY50" fmla="*/ 35022 h 605734"/>
                  <a:gd name="connsiteX51" fmla="*/ 35076 w 489936"/>
                  <a:gd name="connsiteY51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9936" h="605734">
                    <a:moveTo>
                      <a:pt x="56946" y="454159"/>
                    </a:moveTo>
                    <a:lnTo>
                      <a:pt x="432989" y="454159"/>
                    </a:lnTo>
                    <a:lnTo>
                      <a:pt x="432989" y="552245"/>
                    </a:lnTo>
                    <a:lnTo>
                      <a:pt x="56946" y="552245"/>
                    </a:lnTo>
                    <a:close/>
                    <a:moveTo>
                      <a:pt x="218027" y="167240"/>
                    </a:moveTo>
                    <a:lnTo>
                      <a:pt x="270224" y="343219"/>
                    </a:lnTo>
                    <a:lnTo>
                      <a:pt x="322421" y="269521"/>
                    </a:lnTo>
                    <a:lnTo>
                      <a:pt x="361990" y="314636"/>
                    </a:lnTo>
                    <a:lnTo>
                      <a:pt x="432989" y="314636"/>
                    </a:lnTo>
                    <a:lnTo>
                      <a:pt x="432989" y="333411"/>
                    </a:lnTo>
                    <a:lnTo>
                      <a:pt x="353290" y="333411"/>
                    </a:lnTo>
                    <a:lnTo>
                      <a:pt x="324105" y="299785"/>
                    </a:lnTo>
                    <a:lnTo>
                      <a:pt x="263208" y="385812"/>
                    </a:lnTo>
                    <a:lnTo>
                      <a:pt x="224762" y="255229"/>
                    </a:lnTo>
                    <a:lnTo>
                      <a:pt x="198664" y="438494"/>
                    </a:lnTo>
                    <a:lnTo>
                      <a:pt x="150395" y="300905"/>
                    </a:lnTo>
                    <a:lnTo>
                      <a:pt x="131313" y="333411"/>
                    </a:lnTo>
                    <a:lnTo>
                      <a:pt x="56946" y="333411"/>
                    </a:lnTo>
                    <a:lnTo>
                      <a:pt x="56946" y="314636"/>
                    </a:lnTo>
                    <a:lnTo>
                      <a:pt x="120368" y="314636"/>
                    </a:lnTo>
                    <a:lnTo>
                      <a:pt x="154605" y="256350"/>
                    </a:lnTo>
                    <a:lnTo>
                      <a:pt x="190806" y="359472"/>
                    </a:lnTo>
                    <a:close/>
                    <a:moveTo>
                      <a:pt x="23290" y="71444"/>
                    </a:moveTo>
                    <a:lnTo>
                      <a:pt x="23290" y="570712"/>
                    </a:lnTo>
                    <a:cubicBezTo>
                      <a:pt x="23290" y="577156"/>
                      <a:pt x="28622" y="582199"/>
                      <a:pt x="35076" y="582199"/>
                    </a:cubicBezTo>
                    <a:lnTo>
                      <a:pt x="454860" y="582199"/>
                    </a:lnTo>
                    <a:cubicBezTo>
                      <a:pt x="461314" y="582199"/>
                      <a:pt x="466646" y="577156"/>
                      <a:pt x="466646" y="570712"/>
                    </a:cubicBezTo>
                    <a:lnTo>
                      <a:pt x="466646" y="71444"/>
                    </a:lnTo>
                    <a:close/>
                    <a:moveTo>
                      <a:pt x="440550" y="24935"/>
                    </a:moveTo>
                    <a:cubicBezTo>
                      <a:pt x="431290" y="24935"/>
                      <a:pt x="423713" y="32220"/>
                      <a:pt x="423713" y="41466"/>
                    </a:cubicBezTo>
                    <a:cubicBezTo>
                      <a:pt x="423713" y="50711"/>
                      <a:pt x="431290" y="58276"/>
                      <a:pt x="440550" y="58276"/>
                    </a:cubicBezTo>
                    <a:cubicBezTo>
                      <a:pt x="449810" y="58276"/>
                      <a:pt x="457105" y="50711"/>
                      <a:pt x="457105" y="41466"/>
                    </a:cubicBezTo>
                    <a:cubicBezTo>
                      <a:pt x="457105" y="32220"/>
                      <a:pt x="449810" y="24935"/>
                      <a:pt x="440550" y="24935"/>
                    </a:cubicBezTo>
                    <a:close/>
                    <a:moveTo>
                      <a:pt x="384148" y="24935"/>
                    </a:moveTo>
                    <a:cubicBezTo>
                      <a:pt x="374888" y="24935"/>
                      <a:pt x="367312" y="32220"/>
                      <a:pt x="367312" y="41466"/>
                    </a:cubicBezTo>
                    <a:cubicBezTo>
                      <a:pt x="367312" y="50711"/>
                      <a:pt x="374888" y="58276"/>
                      <a:pt x="384148" y="58276"/>
                    </a:cubicBezTo>
                    <a:cubicBezTo>
                      <a:pt x="393408" y="58276"/>
                      <a:pt x="400984" y="50711"/>
                      <a:pt x="400984" y="41466"/>
                    </a:cubicBezTo>
                    <a:cubicBezTo>
                      <a:pt x="400984" y="32220"/>
                      <a:pt x="393408" y="24935"/>
                      <a:pt x="384148" y="24935"/>
                    </a:cubicBezTo>
                    <a:close/>
                    <a:moveTo>
                      <a:pt x="327746" y="24935"/>
                    </a:moveTo>
                    <a:cubicBezTo>
                      <a:pt x="318486" y="24935"/>
                      <a:pt x="311191" y="32220"/>
                      <a:pt x="311191" y="41466"/>
                    </a:cubicBezTo>
                    <a:cubicBezTo>
                      <a:pt x="311191" y="50711"/>
                      <a:pt x="318486" y="58276"/>
                      <a:pt x="327746" y="58276"/>
                    </a:cubicBezTo>
                    <a:cubicBezTo>
                      <a:pt x="337006" y="58276"/>
                      <a:pt x="344583" y="50711"/>
                      <a:pt x="344583" y="41466"/>
                    </a:cubicBezTo>
                    <a:cubicBezTo>
                      <a:pt x="344583" y="32220"/>
                      <a:pt x="337006" y="24935"/>
                      <a:pt x="327746" y="24935"/>
                    </a:cubicBezTo>
                    <a:close/>
                    <a:moveTo>
                      <a:pt x="35076" y="0"/>
                    </a:moveTo>
                    <a:lnTo>
                      <a:pt x="454860" y="0"/>
                    </a:lnTo>
                    <a:cubicBezTo>
                      <a:pt x="474222" y="0"/>
                      <a:pt x="489936" y="15690"/>
                      <a:pt x="489936" y="35022"/>
                    </a:cubicBezTo>
                    <a:lnTo>
                      <a:pt x="489936" y="570712"/>
                    </a:lnTo>
                    <a:cubicBezTo>
                      <a:pt x="489936" y="590044"/>
                      <a:pt x="474222" y="605734"/>
                      <a:pt x="454860" y="605734"/>
                    </a:cubicBezTo>
                    <a:lnTo>
                      <a:pt x="35076" y="605734"/>
                    </a:lnTo>
                    <a:cubicBezTo>
                      <a:pt x="15714" y="605734"/>
                      <a:pt x="0" y="590044"/>
                      <a:pt x="0" y="570712"/>
                    </a:cubicBezTo>
                    <a:lnTo>
                      <a:pt x="0" y="35022"/>
                    </a:lnTo>
                    <a:cubicBezTo>
                      <a:pt x="0" y="15690"/>
                      <a:pt x="15714" y="0"/>
                      <a:pt x="350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/>
              <p:cNvSpPr/>
              <p:nvPr/>
            </p:nvSpPr>
            <p:spPr>
              <a:xfrm>
                <a:off x="5195888" y="4320139"/>
                <a:ext cx="283860" cy="350952"/>
              </a:xfrm>
              <a:custGeom>
                <a:avLst/>
                <a:gdLst>
                  <a:gd name="connsiteX0" fmla="*/ 56946 w 489936"/>
                  <a:gd name="connsiteY0" fmla="*/ 454159 h 605734"/>
                  <a:gd name="connsiteX1" fmla="*/ 432989 w 489936"/>
                  <a:gd name="connsiteY1" fmla="*/ 454159 h 605734"/>
                  <a:gd name="connsiteX2" fmla="*/ 432989 w 489936"/>
                  <a:gd name="connsiteY2" fmla="*/ 552245 h 605734"/>
                  <a:gd name="connsiteX3" fmla="*/ 56946 w 489936"/>
                  <a:gd name="connsiteY3" fmla="*/ 552245 h 605734"/>
                  <a:gd name="connsiteX4" fmla="*/ 218027 w 489936"/>
                  <a:gd name="connsiteY4" fmla="*/ 167240 h 605734"/>
                  <a:gd name="connsiteX5" fmla="*/ 270224 w 489936"/>
                  <a:gd name="connsiteY5" fmla="*/ 343219 h 605734"/>
                  <a:gd name="connsiteX6" fmla="*/ 322421 w 489936"/>
                  <a:gd name="connsiteY6" fmla="*/ 269521 h 605734"/>
                  <a:gd name="connsiteX7" fmla="*/ 361990 w 489936"/>
                  <a:gd name="connsiteY7" fmla="*/ 314636 h 605734"/>
                  <a:gd name="connsiteX8" fmla="*/ 432989 w 489936"/>
                  <a:gd name="connsiteY8" fmla="*/ 314636 h 605734"/>
                  <a:gd name="connsiteX9" fmla="*/ 432989 w 489936"/>
                  <a:gd name="connsiteY9" fmla="*/ 333411 h 605734"/>
                  <a:gd name="connsiteX10" fmla="*/ 353290 w 489936"/>
                  <a:gd name="connsiteY10" fmla="*/ 333411 h 605734"/>
                  <a:gd name="connsiteX11" fmla="*/ 324105 w 489936"/>
                  <a:gd name="connsiteY11" fmla="*/ 299785 h 605734"/>
                  <a:gd name="connsiteX12" fmla="*/ 263208 w 489936"/>
                  <a:gd name="connsiteY12" fmla="*/ 385812 h 605734"/>
                  <a:gd name="connsiteX13" fmla="*/ 224762 w 489936"/>
                  <a:gd name="connsiteY13" fmla="*/ 255229 h 605734"/>
                  <a:gd name="connsiteX14" fmla="*/ 198664 w 489936"/>
                  <a:gd name="connsiteY14" fmla="*/ 438494 h 605734"/>
                  <a:gd name="connsiteX15" fmla="*/ 150395 w 489936"/>
                  <a:gd name="connsiteY15" fmla="*/ 300905 h 605734"/>
                  <a:gd name="connsiteX16" fmla="*/ 131313 w 489936"/>
                  <a:gd name="connsiteY16" fmla="*/ 333411 h 605734"/>
                  <a:gd name="connsiteX17" fmla="*/ 56946 w 489936"/>
                  <a:gd name="connsiteY17" fmla="*/ 333411 h 605734"/>
                  <a:gd name="connsiteX18" fmla="*/ 56946 w 489936"/>
                  <a:gd name="connsiteY18" fmla="*/ 314636 h 605734"/>
                  <a:gd name="connsiteX19" fmla="*/ 120368 w 489936"/>
                  <a:gd name="connsiteY19" fmla="*/ 314636 h 605734"/>
                  <a:gd name="connsiteX20" fmla="*/ 154605 w 489936"/>
                  <a:gd name="connsiteY20" fmla="*/ 256350 h 605734"/>
                  <a:gd name="connsiteX21" fmla="*/ 190806 w 489936"/>
                  <a:gd name="connsiteY21" fmla="*/ 359472 h 605734"/>
                  <a:gd name="connsiteX22" fmla="*/ 23290 w 489936"/>
                  <a:gd name="connsiteY22" fmla="*/ 71444 h 605734"/>
                  <a:gd name="connsiteX23" fmla="*/ 23290 w 489936"/>
                  <a:gd name="connsiteY23" fmla="*/ 570712 h 605734"/>
                  <a:gd name="connsiteX24" fmla="*/ 35076 w 489936"/>
                  <a:gd name="connsiteY24" fmla="*/ 582199 h 605734"/>
                  <a:gd name="connsiteX25" fmla="*/ 454860 w 489936"/>
                  <a:gd name="connsiteY25" fmla="*/ 582199 h 605734"/>
                  <a:gd name="connsiteX26" fmla="*/ 466646 w 489936"/>
                  <a:gd name="connsiteY26" fmla="*/ 570712 h 605734"/>
                  <a:gd name="connsiteX27" fmla="*/ 466646 w 489936"/>
                  <a:gd name="connsiteY27" fmla="*/ 71444 h 605734"/>
                  <a:gd name="connsiteX28" fmla="*/ 440550 w 489936"/>
                  <a:gd name="connsiteY28" fmla="*/ 24935 h 605734"/>
                  <a:gd name="connsiteX29" fmla="*/ 423713 w 489936"/>
                  <a:gd name="connsiteY29" fmla="*/ 41466 h 605734"/>
                  <a:gd name="connsiteX30" fmla="*/ 440550 w 489936"/>
                  <a:gd name="connsiteY30" fmla="*/ 58276 h 605734"/>
                  <a:gd name="connsiteX31" fmla="*/ 457105 w 489936"/>
                  <a:gd name="connsiteY31" fmla="*/ 41466 h 605734"/>
                  <a:gd name="connsiteX32" fmla="*/ 440550 w 489936"/>
                  <a:gd name="connsiteY32" fmla="*/ 24935 h 605734"/>
                  <a:gd name="connsiteX33" fmla="*/ 384148 w 489936"/>
                  <a:gd name="connsiteY33" fmla="*/ 24935 h 605734"/>
                  <a:gd name="connsiteX34" fmla="*/ 367312 w 489936"/>
                  <a:gd name="connsiteY34" fmla="*/ 41466 h 605734"/>
                  <a:gd name="connsiteX35" fmla="*/ 384148 w 489936"/>
                  <a:gd name="connsiteY35" fmla="*/ 58276 h 605734"/>
                  <a:gd name="connsiteX36" fmla="*/ 400984 w 489936"/>
                  <a:gd name="connsiteY36" fmla="*/ 41466 h 605734"/>
                  <a:gd name="connsiteX37" fmla="*/ 384148 w 489936"/>
                  <a:gd name="connsiteY37" fmla="*/ 24935 h 605734"/>
                  <a:gd name="connsiteX38" fmla="*/ 327746 w 489936"/>
                  <a:gd name="connsiteY38" fmla="*/ 24935 h 605734"/>
                  <a:gd name="connsiteX39" fmla="*/ 311191 w 489936"/>
                  <a:gd name="connsiteY39" fmla="*/ 41466 h 605734"/>
                  <a:gd name="connsiteX40" fmla="*/ 327746 w 489936"/>
                  <a:gd name="connsiteY40" fmla="*/ 58276 h 605734"/>
                  <a:gd name="connsiteX41" fmla="*/ 344583 w 489936"/>
                  <a:gd name="connsiteY41" fmla="*/ 41466 h 605734"/>
                  <a:gd name="connsiteX42" fmla="*/ 327746 w 489936"/>
                  <a:gd name="connsiteY42" fmla="*/ 24935 h 605734"/>
                  <a:gd name="connsiteX43" fmla="*/ 35076 w 489936"/>
                  <a:gd name="connsiteY43" fmla="*/ 0 h 605734"/>
                  <a:gd name="connsiteX44" fmla="*/ 454860 w 489936"/>
                  <a:gd name="connsiteY44" fmla="*/ 0 h 605734"/>
                  <a:gd name="connsiteX45" fmla="*/ 489936 w 489936"/>
                  <a:gd name="connsiteY45" fmla="*/ 35022 h 605734"/>
                  <a:gd name="connsiteX46" fmla="*/ 489936 w 489936"/>
                  <a:gd name="connsiteY46" fmla="*/ 570712 h 605734"/>
                  <a:gd name="connsiteX47" fmla="*/ 454860 w 489936"/>
                  <a:gd name="connsiteY47" fmla="*/ 605734 h 605734"/>
                  <a:gd name="connsiteX48" fmla="*/ 35076 w 489936"/>
                  <a:gd name="connsiteY48" fmla="*/ 605734 h 605734"/>
                  <a:gd name="connsiteX49" fmla="*/ 0 w 489936"/>
                  <a:gd name="connsiteY49" fmla="*/ 570712 h 605734"/>
                  <a:gd name="connsiteX50" fmla="*/ 0 w 489936"/>
                  <a:gd name="connsiteY50" fmla="*/ 35022 h 605734"/>
                  <a:gd name="connsiteX51" fmla="*/ 35076 w 489936"/>
                  <a:gd name="connsiteY51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9936" h="605734">
                    <a:moveTo>
                      <a:pt x="56946" y="454159"/>
                    </a:moveTo>
                    <a:lnTo>
                      <a:pt x="432989" y="454159"/>
                    </a:lnTo>
                    <a:lnTo>
                      <a:pt x="432989" y="552245"/>
                    </a:lnTo>
                    <a:lnTo>
                      <a:pt x="56946" y="552245"/>
                    </a:lnTo>
                    <a:close/>
                    <a:moveTo>
                      <a:pt x="218027" y="167240"/>
                    </a:moveTo>
                    <a:lnTo>
                      <a:pt x="270224" y="343219"/>
                    </a:lnTo>
                    <a:lnTo>
                      <a:pt x="322421" y="269521"/>
                    </a:lnTo>
                    <a:lnTo>
                      <a:pt x="361990" y="314636"/>
                    </a:lnTo>
                    <a:lnTo>
                      <a:pt x="432989" y="314636"/>
                    </a:lnTo>
                    <a:lnTo>
                      <a:pt x="432989" y="333411"/>
                    </a:lnTo>
                    <a:lnTo>
                      <a:pt x="353290" y="333411"/>
                    </a:lnTo>
                    <a:lnTo>
                      <a:pt x="324105" y="299785"/>
                    </a:lnTo>
                    <a:lnTo>
                      <a:pt x="263208" y="385812"/>
                    </a:lnTo>
                    <a:lnTo>
                      <a:pt x="224762" y="255229"/>
                    </a:lnTo>
                    <a:lnTo>
                      <a:pt x="198664" y="438494"/>
                    </a:lnTo>
                    <a:lnTo>
                      <a:pt x="150395" y="300905"/>
                    </a:lnTo>
                    <a:lnTo>
                      <a:pt x="131313" y="333411"/>
                    </a:lnTo>
                    <a:lnTo>
                      <a:pt x="56946" y="333411"/>
                    </a:lnTo>
                    <a:lnTo>
                      <a:pt x="56946" y="314636"/>
                    </a:lnTo>
                    <a:lnTo>
                      <a:pt x="120368" y="314636"/>
                    </a:lnTo>
                    <a:lnTo>
                      <a:pt x="154605" y="256350"/>
                    </a:lnTo>
                    <a:lnTo>
                      <a:pt x="190806" y="359472"/>
                    </a:lnTo>
                    <a:close/>
                    <a:moveTo>
                      <a:pt x="23290" y="71444"/>
                    </a:moveTo>
                    <a:lnTo>
                      <a:pt x="23290" y="570712"/>
                    </a:lnTo>
                    <a:cubicBezTo>
                      <a:pt x="23290" y="577156"/>
                      <a:pt x="28622" y="582199"/>
                      <a:pt x="35076" y="582199"/>
                    </a:cubicBezTo>
                    <a:lnTo>
                      <a:pt x="454860" y="582199"/>
                    </a:lnTo>
                    <a:cubicBezTo>
                      <a:pt x="461314" y="582199"/>
                      <a:pt x="466646" y="577156"/>
                      <a:pt x="466646" y="570712"/>
                    </a:cubicBezTo>
                    <a:lnTo>
                      <a:pt x="466646" y="71444"/>
                    </a:lnTo>
                    <a:close/>
                    <a:moveTo>
                      <a:pt x="440550" y="24935"/>
                    </a:moveTo>
                    <a:cubicBezTo>
                      <a:pt x="431290" y="24935"/>
                      <a:pt x="423713" y="32220"/>
                      <a:pt x="423713" y="41466"/>
                    </a:cubicBezTo>
                    <a:cubicBezTo>
                      <a:pt x="423713" y="50711"/>
                      <a:pt x="431290" y="58276"/>
                      <a:pt x="440550" y="58276"/>
                    </a:cubicBezTo>
                    <a:cubicBezTo>
                      <a:pt x="449810" y="58276"/>
                      <a:pt x="457105" y="50711"/>
                      <a:pt x="457105" y="41466"/>
                    </a:cubicBezTo>
                    <a:cubicBezTo>
                      <a:pt x="457105" y="32220"/>
                      <a:pt x="449810" y="24935"/>
                      <a:pt x="440550" y="24935"/>
                    </a:cubicBezTo>
                    <a:close/>
                    <a:moveTo>
                      <a:pt x="384148" y="24935"/>
                    </a:moveTo>
                    <a:cubicBezTo>
                      <a:pt x="374888" y="24935"/>
                      <a:pt x="367312" y="32220"/>
                      <a:pt x="367312" y="41466"/>
                    </a:cubicBezTo>
                    <a:cubicBezTo>
                      <a:pt x="367312" y="50711"/>
                      <a:pt x="374888" y="58276"/>
                      <a:pt x="384148" y="58276"/>
                    </a:cubicBezTo>
                    <a:cubicBezTo>
                      <a:pt x="393408" y="58276"/>
                      <a:pt x="400984" y="50711"/>
                      <a:pt x="400984" y="41466"/>
                    </a:cubicBezTo>
                    <a:cubicBezTo>
                      <a:pt x="400984" y="32220"/>
                      <a:pt x="393408" y="24935"/>
                      <a:pt x="384148" y="24935"/>
                    </a:cubicBezTo>
                    <a:close/>
                    <a:moveTo>
                      <a:pt x="327746" y="24935"/>
                    </a:moveTo>
                    <a:cubicBezTo>
                      <a:pt x="318486" y="24935"/>
                      <a:pt x="311191" y="32220"/>
                      <a:pt x="311191" y="41466"/>
                    </a:cubicBezTo>
                    <a:cubicBezTo>
                      <a:pt x="311191" y="50711"/>
                      <a:pt x="318486" y="58276"/>
                      <a:pt x="327746" y="58276"/>
                    </a:cubicBezTo>
                    <a:cubicBezTo>
                      <a:pt x="337006" y="58276"/>
                      <a:pt x="344583" y="50711"/>
                      <a:pt x="344583" y="41466"/>
                    </a:cubicBezTo>
                    <a:cubicBezTo>
                      <a:pt x="344583" y="32220"/>
                      <a:pt x="337006" y="24935"/>
                      <a:pt x="327746" y="24935"/>
                    </a:cubicBezTo>
                    <a:close/>
                    <a:moveTo>
                      <a:pt x="35076" y="0"/>
                    </a:moveTo>
                    <a:lnTo>
                      <a:pt x="454860" y="0"/>
                    </a:lnTo>
                    <a:cubicBezTo>
                      <a:pt x="474222" y="0"/>
                      <a:pt x="489936" y="15690"/>
                      <a:pt x="489936" y="35022"/>
                    </a:cubicBezTo>
                    <a:lnTo>
                      <a:pt x="489936" y="570712"/>
                    </a:lnTo>
                    <a:cubicBezTo>
                      <a:pt x="489936" y="590044"/>
                      <a:pt x="474222" y="605734"/>
                      <a:pt x="454860" y="605734"/>
                    </a:cubicBezTo>
                    <a:lnTo>
                      <a:pt x="35076" y="605734"/>
                    </a:lnTo>
                    <a:cubicBezTo>
                      <a:pt x="15714" y="605734"/>
                      <a:pt x="0" y="590044"/>
                      <a:pt x="0" y="570712"/>
                    </a:cubicBezTo>
                    <a:lnTo>
                      <a:pt x="0" y="35022"/>
                    </a:lnTo>
                    <a:cubicBezTo>
                      <a:pt x="0" y="15690"/>
                      <a:pt x="15714" y="0"/>
                      <a:pt x="350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>
              <a:xfrm>
                <a:off x="6795558" y="3170106"/>
                <a:ext cx="494397" cy="611250"/>
              </a:xfrm>
              <a:custGeom>
                <a:avLst/>
                <a:gdLst>
                  <a:gd name="connsiteX0" fmla="*/ 56946 w 489936"/>
                  <a:gd name="connsiteY0" fmla="*/ 454159 h 605734"/>
                  <a:gd name="connsiteX1" fmla="*/ 432989 w 489936"/>
                  <a:gd name="connsiteY1" fmla="*/ 454159 h 605734"/>
                  <a:gd name="connsiteX2" fmla="*/ 432989 w 489936"/>
                  <a:gd name="connsiteY2" fmla="*/ 552245 h 605734"/>
                  <a:gd name="connsiteX3" fmla="*/ 56946 w 489936"/>
                  <a:gd name="connsiteY3" fmla="*/ 552245 h 605734"/>
                  <a:gd name="connsiteX4" fmla="*/ 218027 w 489936"/>
                  <a:gd name="connsiteY4" fmla="*/ 167240 h 605734"/>
                  <a:gd name="connsiteX5" fmla="*/ 270224 w 489936"/>
                  <a:gd name="connsiteY5" fmla="*/ 343219 h 605734"/>
                  <a:gd name="connsiteX6" fmla="*/ 322421 w 489936"/>
                  <a:gd name="connsiteY6" fmla="*/ 269521 h 605734"/>
                  <a:gd name="connsiteX7" fmla="*/ 361990 w 489936"/>
                  <a:gd name="connsiteY7" fmla="*/ 314636 h 605734"/>
                  <a:gd name="connsiteX8" fmla="*/ 432989 w 489936"/>
                  <a:gd name="connsiteY8" fmla="*/ 314636 h 605734"/>
                  <a:gd name="connsiteX9" fmla="*/ 432989 w 489936"/>
                  <a:gd name="connsiteY9" fmla="*/ 333411 h 605734"/>
                  <a:gd name="connsiteX10" fmla="*/ 353290 w 489936"/>
                  <a:gd name="connsiteY10" fmla="*/ 333411 h 605734"/>
                  <a:gd name="connsiteX11" fmla="*/ 324105 w 489936"/>
                  <a:gd name="connsiteY11" fmla="*/ 299785 h 605734"/>
                  <a:gd name="connsiteX12" fmla="*/ 263208 w 489936"/>
                  <a:gd name="connsiteY12" fmla="*/ 385812 h 605734"/>
                  <a:gd name="connsiteX13" fmla="*/ 224762 w 489936"/>
                  <a:gd name="connsiteY13" fmla="*/ 255229 h 605734"/>
                  <a:gd name="connsiteX14" fmla="*/ 198664 w 489936"/>
                  <a:gd name="connsiteY14" fmla="*/ 438494 h 605734"/>
                  <a:gd name="connsiteX15" fmla="*/ 150395 w 489936"/>
                  <a:gd name="connsiteY15" fmla="*/ 300905 h 605734"/>
                  <a:gd name="connsiteX16" fmla="*/ 131313 w 489936"/>
                  <a:gd name="connsiteY16" fmla="*/ 333411 h 605734"/>
                  <a:gd name="connsiteX17" fmla="*/ 56946 w 489936"/>
                  <a:gd name="connsiteY17" fmla="*/ 333411 h 605734"/>
                  <a:gd name="connsiteX18" fmla="*/ 56946 w 489936"/>
                  <a:gd name="connsiteY18" fmla="*/ 314636 h 605734"/>
                  <a:gd name="connsiteX19" fmla="*/ 120368 w 489936"/>
                  <a:gd name="connsiteY19" fmla="*/ 314636 h 605734"/>
                  <a:gd name="connsiteX20" fmla="*/ 154605 w 489936"/>
                  <a:gd name="connsiteY20" fmla="*/ 256350 h 605734"/>
                  <a:gd name="connsiteX21" fmla="*/ 190806 w 489936"/>
                  <a:gd name="connsiteY21" fmla="*/ 359472 h 605734"/>
                  <a:gd name="connsiteX22" fmla="*/ 23290 w 489936"/>
                  <a:gd name="connsiteY22" fmla="*/ 71444 h 605734"/>
                  <a:gd name="connsiteX23" fmla="*/ 23290 w 489936"/>
                  <a:gd name="connsiteY23" fmla="*/ 570712 h 605734"/>
                  <a:gd name="connsiteX24" fmla="*/ 35076 w 489936"/>
                  <a:gd name="connsiteY24" fmla="*/ 582199 h 605734"/>
                  <a:gd name="connsiteX25" fmla="*/ 454860 w 489936"/>
                  <a:gd name="connsiteY25" fmla="*/ 582199 h 605734"/>
                  <a:gd name="connsiteX26" fmla="*/ 466646 w 489936"/>
                  <a:gd name="connsiteY26" fmla="*/ 570712 h 605734"/>
                  <a:gd name="connsiteX27" fmla="*/ 466646 w 489936"/>
                  <a:gd name="connsiteY27" fmla="*/ 71444 h 605734"/>
                  <a:gd name="connsiteX28" fmla="*/ 440550 w 489936"/>
                  <a:gd name="connsiteY28" fmla="*/ 24935 h 605734"/>
                  <a:gd name="connsiteX29" fmla="*/ 423713 w 489936"/>
                  <a:gd name="connsiteY29" fmla="*/ 41466 h 605734"/>
                  <a:gd name="connsiteX30" fmla="*/ 440550 w 489936"/>
                  <a:gd name="connsiteY30" fmla="*/ 58276 h 605734"/>
                  <a:gd name="connsiteX31" fmla="*/ 457105 w 489936"/>
                  <a:gd name="connsiteY31" fmla="*/ 41466 h 605734"/>
                  <a:gd name="connsiteX32" fmla="*/ 440550 w 489936"/>
                  <a:gd name="connsiteY32" fmla="*/ 24935 h 605734"/>
                  <a:gd name="connsiteX33" fmla="*/ 384148 w 489936"/>
                  <a:gd name="connsiteY33" fmla="*/ 24935 h 605734"/>
                  <a:gd name="connsiteX34" fmla="*/ 367312 w 489936"/>
                  <a:gd name="connsiteY34" fmla="*/ 41466 h 605734"/>
                  <a:gd name="connsiteX35" fmla="*/ 384148 w 489936"/>
                  <a:gd name="connsiteY35" fmla="*/ 58276 h 605734"/>
                  <a:gd name="connsiteX36" fmla="*/ 400984 w 489936"/>
                  <a:gd name="connsiteY36" fmla="*/ 41466 h 605734"/>
                  <a:gd name="connsiteX37" fmla="*/ 384148 w 489936"/>
                  <a:gd name="connsiteY37" fmla="*/ 24935 h 605734"/>
                  <a:gd name="connsiteX38" fmla="*/ 327746 w 489936"/>
                  <a:gd name="connsiteY38" fmla="*/ 24935 h 605734"/>
                  <a:gd name="connsiteX39" fmla="*/ 311191 w 489936"/>
                  <a:gd name="connsiteY39" fmla="*/ 41466 h 605734"/>
                  <a:gd name="connsiteX40" fmla="*/ 327746 w 489936"/>
                  <a:gd name="connsiteY40" fmla="*/ 58276 h 605734"/>
                  <a:gd name="connsiteX41" fmla="*/ 344583 w 489936"/>
                  <a:gd name="connsiteY41" fmla="*/ 41466 h 605734"/>
                  <a:gd name="connsiteX42" fmla="*/ 327746 w 489936"/>
                  <a:gd name="connsiteY42" fmla="*/ 24935 h 605734"/>
                  <a:gd name="connsiteX43" fmla="*/ 35076 w 489936"/>
                  <a:gd name="connsiteY43" fmla="*/ 0 h 605734"/>
                  <a:gd name="connsiteX44" fmla="*/ 454860 w 489936"/>
                  <a:gd name="connsiteY44" fmla="*/ 0 h 605734"/>
                  <a:gd name="connsiteX45" fmla="*/ 489936 w 489936"/>
                  <a:gd name="connsiteY45" fmla="*/ 35022 h 605734"/>
                  <a:gd name="connsiteX46" fmla="*/ 489936 w 489936"/>
                  <a:gd name="connsiteY46" fmla="*/ 570712 h 605734"/>
                  <a:gd name="connsiteX47" fmla="*/ 454860 w 489936"/>
                  <a:gd name="connsiteY47" fmla="*/ 605734 h 605734"/>
                  <a:gd name="connsiteX48" fmla="*/ 35076 w 489936"/>
                  <a:gd name="connsiteY48" fmla="*/ 605734 h 605734"/>
                  <a:gd name="connsiteX49" fmla="*/ 0 w 489936"/>
                  <a:gd name="connsiteY49" fmla="*/ 570712 h 605734"/>
                  <a:gd name="connsiteX50" fmla="*/ 0 w 489936"/>
                  <a:gd name="connsiteY50" fmla="*/ 35022 h 605734"/>
                  <a:gd name="connsiteX51" fmla="*/ 35076 w 489936"/>
                  <a:gd name="connsiteY51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9936" h="605734">
                    <a:moveTo>
                      <a:pt x="56946" y="454159"/>
                    </a:moveTo>
                    <a:lnTo>
                      <a:pt x="432989" y="454159"/>
                    </a:lnTo>
                    <a:lnTo>
                      <a:pt x="432989" y="552245"/>
                    </a:lnTo>
                    <a:lnTo>
                      <a:pt x="56946" y="552245"/>
                    </a:lnTo>
                    <a:close/>
                    <a:moveTo>
                      <a:pt x="218027" y="167240"/>
                    </a:moveTo>
                    <a:lnTo>
                      <a:pt x="270224" y="343219"/>
                    </a:lnTo>
                    <a:lnTo>
                      <a:pt x="322421" y="269521"/>
                    </a:lnTo>
                    <a:lnTo>
                      <a:pt x="361990" y="314636"/>
                    </a:lnTo>
                    <a:lnTo>
                      <a:pt x="432989" y="314636"/>
                    </a:lnTo>
                    <a:lnTo>
                      <a:pt x="432989" y="333411"/>
                    </a:lnTo>
                    <a:lnTo>
                      <a:pt x="353290" y="333411"/>
                    </a:lnTo>
                    <a:lnTo>
                      <a:pt x="324105" y="299785"/>
                    </a:lnTo>
                    <a:lnTo>
                      <a:pt x="263208" y="385812"/>
                    </a:lnTo>
                    <a:lnTo>
                      <a:pt x="224762" y="255229"/>
                    </a:lnTo>
                    <a:lnTo>
                      <a:pt x="198664" y="438494"/>
                    </a:lnTo>
                    <a:lnTo>
                      <a:pt x="150395" y="300905"/>
                    </a:lnTo>
                    <a:lnTo>
                      <a:pt x="131313" y="333411"/>
                    </a:lnTo>
                    <a:lnTo>
                      <a:pt x="56946" y="333411"/>
                    </a:lnTo>
                    <a:lnTo>
                      <a:pt x="56946" y="314636"/>
                    </a:lnTo>
                    <a:lnTo>
                      <a:pt x="120368" y="314636"/>
                    </a:lnTo>
                    <a:lnTo>
                      <a:pt x="154605" y="256350"/>
                    </a:lnTo>
                    <a:lnTo>
                      <a:pt x="190806" y="359472"/>
                    </a:lnTo>
                    <a:close/>
                    <a:moveTo>
                      <a:pt x="23290" y="71444"/>
                    </a:moveTo>
                    <a:lnTo>
                      <a:pt x="23290" y="570712"/>
                    </a:lnTo>
                    <a:cubicBezTo>
                      <a:pt x="23290" y="577156"/>
                      <a:pt x="28622" y="582199"/>
                      <a:pt x="35076" y="582199"/>
                    </a:cubicBezTo>
                    <a:lnTo>
                      <a:pt x="454860" y="582199"/>
                    </a:lnTo>
                    <a:cubicBezTo>
                      <a:pt x="461314" y="582199"/>
                      <a:pt x="466646" y="577156"/>
                      <a:pt x="466646" y="570712"/>
                    </a:cubicBezTo>
                    <a:lnTo>
                      <a:pt x="466646" y="71444"/>
                    </a:lnTo>
                    <a:close/>
                    <a:moveTo>
                      <a:pt x="440550" y="24935"/>
                    </a:moveTo>
                    <a:cubicBezTo>
                      <a:pt x="431290" y="24935"/>
                      <a:pt x="423713" y="32220"/>
                      <a:pt x="423713" y="41466"/>
                    </a:cubicBezTo>
                    <a:cubicBezTo>
                      <a:pt x="423713" y="50711"/>
                      <a:pt x="431290" y="58276"/>
                      <a:pt x="440550" y="58276"/>
                    </a:cubicBezTo>
                    <a:cubicBezTo>
                      <a:pt x="449810" y="58276"/>
                      <a:pt x="457105" y="50711"/>
                      <a:pt x="457105" y="41466"/>
                    </a:cubicBezTo>
                    <a:cubicBezTo>
                      <a:pt x="457105" y="32220"/>
                      <a:pt x="449810" y="24935"/>
                      <a:pt x="440550" y="24935"/>
                    </a:cubicBezTo>
                    <a:close/>
                    <a:moveTo>
                      <a:pt x="384148" y="24935"/>
                    </a:moveTo>
                    <a:cubicBezTo>
                      <a:pt x="374888" y="24935"/>
                      <a:pt x="367312" y="32220"/>
                      <a:pt x="367312" y="41466"/>
                    </a:cubicBezTo>
                    <a:cubicBezTo>
                      <a:pt x="367312" y="50711"/>
                      <a:pt x="374888" y="58276"/>
                      <a:pt x="384148" y="58276"/>
                    </a:cubicBezTo>
                    <a:cubicBezTo>
                      <a:pt x="393408" y="58276"/>
                      <a:pt x="400984" y="50711"/>
                      <a:pt x="400984" y="41466"/>
                    </a:cubicBezTo>
                    <a:cubicBezTo>
                      <a:pt x="400984" y="32220"/>
                      <a:pt x="393408" y="24935"/>
                      <a:pt x="384148" y="24935"/>
                    </a:cubicBezTo>
                    <a:close/>
                    <a:moveTo>
                      <a:pt x="327746" y="24935"/>
                    </a:moveTo>
                    <a:cubicBezTo>
                      <a:pt x="318486" y="24935"/>
                      <a:pt x="311191" y="32220"/>
                      <a:pt x="311191" y="41466"/>
                    </a:cubicBezTo>
                    <a:cubicBezTo>
                      <a:pt x="311191" y="50711"/>
                      <a:pt x="318486" y="58276"/>
                      <a:pt x="327746" y="58276"/>
                    </a:cubicBezTo>
                    <a:cubicBezTo>
                      <a:pt x="337006" y="58276"/>
                      <a:pt x="344583" y="50711"/>
                      <a:pt x="344583" y="41466"/>
                    </a:cubicBezTo>
                    <a:cubicBezTo>
                      <a:pt x="344583" y="32220"/>
                      <a:pt x="337006" y="24935"/>
                      <a:pt x="327746" y="24935"/>
                    </a:cubicBezTo>
                    <a:close/>
                    <a:moveTo>
                      <a:pt x="35076" y="0"/>
                    </a:moveTo>
                    <a:lnTo>
                      <a:pt x="454860" y="0"/>
                    </a:lnTo>
                    <a:cubicBezTo>
                      <a:pt x="474222" y="0"/>
                      <a:pt x="489936" y="15690"/>
                      <a:pt x="489936" y="35022"/>
                    </a:cubicBezTo>
                    <a:lnTo>
                      <a:pt x="489936" y="570712"/>
                    </a:lnTo>
                    <a:cubicBezTo>
                      <a:pt x="489936" y="590044"/>
                      <a:pt x="474222" y="605734"/>
                      <a:pt x="454860" y="605734"/>
                    </a:cubicBezTo>
                    <a:lnTo>
                      <a:pt x="35076" y="605734"/>
                    </a:lnTo>
                    <a:cubicBezTo>
                      <a:pt x="15714" y="605734"/>
                      <a:pt x="0" y="590044"/>
                      <a:pt x="0" y="570712"/>
                    </a:cubicBezTo>
                    <a:lnTo>
                      <a:pt x="0" y="35022"/>
                    </a:lnTo>
                    <a:cubicBezTo>
                      <a:pt x="0" y="15690"/>
                      <a:pt x="15714" y="0"/>
                      <a:pt x="350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/>
            <p:cNvCxnSpPr>
              <a:stCxn id="19" idx="12"/>
            </p:cNvCxnSpPr>
            <p:nvPr/>
          </p:nvCxnSpPr>
          <p:spPr>
            <a:xfrm flipH="1">
              <a:off x="673100" y="3903947"/>
              <a:ext cx="567867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组合 7"/>
            <p:cNvGrpSpPr/>
            <p:nvPr/>
          </p:nvGrpSpPr>
          <p:grpSpPr>
            <a:xfrm>
              <a:off x="673100" y="2670207"/>
              <a:ext cx="3171237" cy="2467480"/>
              <a:chOff x="673100" y="2670207"/>
              <a:chExt cx="3302911" cy="2467480"/>
            </a:xfrm>
          </p:grpSpPr>
          <p:grpSp>
            <p:nvGrpSpPr>
              <p:cNvPr id="12" name="组合 11">
                <a:extLst>
                  <a:ext uri="{FF2B5EF4-FFF2-40B4-BE49-F238E27FC236}">
                    <a16:creationId xmlns:a16="http://schemas.microsoft.com/office/drawing/2014/main" id="{784FEB7A-11A9-4DCE-9C02-AD4BF7906846}"/>
                  </a:ext>
                </a:extLst>
              </p:cNvPr>
              <p:cNvGrpSpPr/>
              <p:nvPr/>
            </p:nvGrpSpPr>
            <p:grpSpPr>
              <a:xfrm>
                <a:off x="673100" y="2670207"/>
                <a:ext cx="3302911" cy="1030224"/>
                <a:chOff x="5966654" y="1551508"/>
                <a:chExt cx="1910608" cy="1030224"/>
              </a:xfrm>
            </p:grpSpPr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6B4C8EFA-AE13-43DF-87EF-19070F40DB47}"/>
                    </a:ext>
                  </a:extLst>
                </p:cNvPr>
                <p:cNvSpPr/>
                <p:nvPr/>
              </p:nvSpPr>
              <p:spPr bwMode="auto">
                <a:xfrm>
                  <a:off x="5966654" y="1551508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:r>
                    <a:rPr lang="zh-CN" altLang="en-US" b="1" kern="0" dirty="0">
                      <a:cs typeface="+mn-ea"/>
                      <a:sym typeface="+mn-lt"/>
                    </a:rPr>
                    <a:t>口罩与面部完全贴合</a:t>
                  </a:r>
                </a:p>
              </p:txBody>
            </p:sp>
            <p:sp>
              <p:nvSpPr>
                <p:cNvPr id="17" name="矩形 16">
                  <a:extLst>
                    <a:ext uri="{FF2B5EF4-FFF2-40B4-BE49-F238E27FC236}">
                      <a16:creationId xmlns:a16="http://schemas.microsoft.com/office/drawing/2014/main" id="{28D87A01-EBC8-41C1-9C9B-E43F3DDD69BE}"/>
                    </a:ext>
                  </a:extLst>
                </p:cNvPr>
                <p:cNvSpPr/>
                <p:nvPr/>
              </p:nvSpPr>
              <p:spPr>
                <a:xfrm>
                  <a:off x="5966654" y="1943621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171450" lvl="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000">
                      <a:solidFill>
                        <a:schemeClr val="tx1"/>
                      </a:solidFill>
                      <a:cs typeface="+mn-ea"/>
                      <a:sym typeface="+mn-lt"/>
                    </a:rPr>
                    <a:t>Su</a:t>
                  </a:r>
                  <a:r>
                    <a:rPr lang="en-US" altLang="zh-CN" sz="100">
                      <a:solidFill>
                        <a:schemeClr val="tx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000">
                      <a:solidFill>
                        <a:schemeClr val="tx1"/>
                      </a:solidFill>
                      <a:cs typeface="+mn-ea"/>
                      <a:sym typeface="+mn-lt"/>
                    </a:rPr>
                    <a:t>pporting </a:t>
                  </a:r>
                  <a:r>
                    <a:rPr lang="en-US" altLang="zh-CN" sz="10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.</a:t>
                  </a:r>
                </a:p>
                <a:p>
                  <a:pPr marL="171450" lvl="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0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784FEB7A-11A9-4DCE-9C02-AD4BF7906846}"/>
                  </a:ext>
                </a:extLst>
              </p:cNvPr>
              <p:cNvGrpSpPr/>
              <p:nvPr/>
            </p:nvGrpSpPr>
            <p:grpSpPr>
              <a:xfrm>
                <a:off x="673100" y="4107463"/>
                <a:ext cx="3302911" cy="1030224"/>
                <a:chOff x="5966654" y="1551508"/>
                <a:chExt cx="1910608" cy="1030224"/>
              </a:xfrm>
            </p:grpSpPr>
            <p:sp>
              <p:nvSpPr>
                <p:cNvPr id="14" name="矩形 13">
                  <a:extLst>
                    <a:ext uri="{FF2B5EF4-FFF2-40B4-BE49-F238E27FC236}">
                      <a16:creationId xmlns:a16="http://schemas.microsoft.com/office/drawing/2014/main" id="{6B4C8EFA-AE13-43DF-87EF-19070F40DB47}"/>
                    </a:ext>
                  </a:extLst>
                </p:cNvPr>
                <p:cNvSpPr/>
                <p:nvPr/>
              </p:nvSpPr>
              <p:spPr bwMode="auto">
                <a:xfrm>
                  <a:off x="5966654" y="1551508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:r>
                    <a:rPr lang="zh-CN" altLang="en-US" b="1" kern="0" dirty="0">
                      <a:cs typeface="+mn-ea"/>
                      <a:sym typeface="+mn-lt"/>
                    </a:rPr>
                    <a:t>戴口罩前应洗手</a:t>
                  </a:r>
                </a:p>
              </p:txBody>
            </p:sp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28D87A01-EBC8-41C1-9C9B-E43F3DDD69BE}"/>
                    </a:ext>
                  </a:extLst>
                </p:cNvPr>
                <p:cNvSpPr/>
                <p:nvPr/>
              </p:nvSpPr>
              <p:spPr>
                <a:xfrm>
                  <a:off x="5966654" y="1943621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171450" lvl="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000">
                      <a:solidFill>
                        <a:schemeClr val="tx1"/>
                      </a:solidFill>
                      <a:cs typeface="+mn-ea"/>
                      <a:sym typeface="+mn-lt"/>
                    </a:rPr>
                    <a:t>Su</a:t>
                  </a:r>
                  <a:r>
                    <a:rPr lang="en-US" altLang="zh-CN" sz="100">
                      <a:solidFill>
                        <a:schemeClr val="tx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000">
                      <a:solidFill>
                        <a:schemeClr val="tx1"/>
                      </a:solidFill>
                      <a:cs typeface="+mn-ea"/>
                      <a:sym typeface="+mn-lt"/>
                    </a:rPr>
                    <a:t>pporting </a:t>
                  </a:r>
                  <a:r>
                    <a:rPr lang="en-US" altLang="zh-CN" sz="10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.</a:t>
                  </a:r>
                </a:p>
                <a:p>
                  <a:pPr marL="171450" lvl="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0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8347663" y="2686607"/>
              <a:ext cx="3171237" cy="2434680"/>
              <a:chOff x="8215988" y="2686607"/>
              <a:chExt cx="3302911" cy="2434680"/>
            </a:xfrm>
          </p:grpSpPr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6B4C8EFA-AE13-43DF-87EF-19070F40DB47}"/>
                  </a:ext>
                </a:extLst>
              </p:cNvPr>
              <p:cNvSpPr/>
              <p:nvPr/>
            </p:nvSpPr>
            <p:spPr bwMode="auto">
              <a:xfrm>
                <a:off x="8215988" y="2686607"/>
                <a:ext cx="3302911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b="1" kern="0" dirty="0">
                    <a:cs typeface="+mn-ea"/>
                    <a:sym typeface="+mn-lt"/>
                  </a:rPr>
                  <a:t>定期更换</a:t>
                </a:r>
              </a:p>
            </p:txBody>
          </p:sp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28D87A01-EBC8-41C1-9C9B-E43F3DDD69BE}"/>
                  </a:ext>
                </a:extLst>
              </p:cNvPr>
              <p:cNvSpPr/>
              <p:nvPr/>
            </p:nvSpPr>
            <p:spPr>
              <a:xfrm>
                <a:off x="8215988" y="3078720"/>
                <a:ext cx="3302911" cy="204256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000">
                    <a:solidFill>
                      <a:schemeClr val="tx1"/>
                    </a:solidFill>
                    <a:cs typeface="+mn-ea"/>
                    <a:sym typeface="+mn-lt"/>
                  </a:rPr>
                  <a:t>Supporti</a:t>
                </a:r>
                <a:r>
                  <a:rPr lang="en-US" altLang="zh-CN" sz="10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000">
                    <a:solidFill>
                      <a:schemeClr val="tx1"/>
                    </a:solidFill>
                    <a:cs typeface="+mn-ea"/>
                    <a:sym typeface="+mn-lt"/>
                  </a:rPr>
                  <a:t>ng </a:t>
                </a: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15292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避免食源性感染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39416" y="1341500"/>
            <a:ext cx="10585176" cy="4717292"/>
            <a:chOff x="839416" y="1341500"/>
            <a:chExt cx="10585176" cy="471729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DAFDAB97-5D5C-4AAF-92C9-1135B7C349C8}"/>
                </a:ext>
              </a:extLst>
            </p:cNvPr>
            <p:cNvSpPr/>
            <p:nvPr/>
          </p:nvSpPr>
          <p:spPr bwMode="auto">
            <a:xfrm>
              <a:off x="3288439" y="3360799"/>
              <a:ext cx="1020862" cy="77633"/>
            </a:xfrm>
            <a:custGeom>
              <a:avLst/>
              <a:gdLst>
                <a:gd name="T0" fmla="*/ 165 w 165"/>
                <a:gd name="T1" fmla="*/ 0 h 8"/>
                <a:gd name="T2" fmla="*/ 0 w 165"/>
                <a:gd name="T3" fmla="*/ 0 h 8"/>
                <a:gd name="T4" fmla="*/ 0 w 165"/>
                <a:gd name="T5" fmla="*/ 5 h 8"/>
                <a:gd name="T6" fmla="*/ 0 w 165"/>
                <a:gd name="T7" fmla="*/ 8 h 8"/>
                <a:gd name="T8" fmla="*/ 165 w 165"/>
                <a:gd name="T9" fmla="*/ 8 h 8"/>
                <a:gd name="T10" fmla="*/ 165 w 165"/>
                <a:gd name="T11" fmla="*/ 5 h 8"/>
                <a:gd name="T12" fmla="*/ 165 w 165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8">
                  <a:moveTo>
                    <a:pt x="16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165" y="8"/>
                    <a:pt x="165" y="8"/>
                    <a:pt x="165" y="8"/>
                  </a:cubicBezTo>
                  <a:cubicBezTo>
                    <a:pt x="165" y="7"/>
                    <a:pt x="165" y="6"/>
                    <a:pt x="165" y="5"/>
                  </a:cubicBezTo>
                  <a:cubicBezTo>
                    <a:pt x="165" y="3"/>
                    <a:pt x="165" y="3"/>
                    <a:pt x="16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459C3255-6092-4814-9E42-C93316974798}"/>
                </a:ext>
              </a:extLst>
            </p:cNvPr>
            <p:cNvSpPr/>
            <p:nvPr/>
          </p:nvSpPr>
          <p:spPr bwMode="auto">
            <a:xfrm>
              <a:off x="4800505" y="3360799"/>
              <a:ext cx="1020862" cy="77633"/>
            </a:xfrm>
            <a:custGeom>
              <a:avLst/>
              <a:gdLst>
                <a:gd name="T0" fmla="*/ 165 w 165"/>
                <a:gd name="T1" fmla="*/ 0 h 8"/>
                <a:gd name="T2" fmla="*/ 0 w 165"/>
                <a:gd name="T3" fmla="*/ 0 h 8"/>
                <a:gd name="T4" fmla="*/ 0 w 165"/>
                <a:gd name="T5" fmla="*/ 5 h 8"/>
                <a:gd name="T6" fmla="*/ 0 w 165"/>
                <a:gd name="T7" fmla="*/ 8 h 8"/>
                <a:gd name="T8" fmla="*/ 165 w 165"/>
                <a:gd name="T9" fmla="*/ 8 h 8"/>
                <a:gd name="T10" fmla="*/ 165 w 165"/>
                <a:gd name="T11" fmla="*/ 5 h 8"/>
                <a:gd name="T12" fmla="*/ 165 w 165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8">
                  <a:moveTo>
                    <a:pt x="16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165" y="8"/>
                    <a:pt x="165" y="8"/>
                    <a:pt x="165" y="8"/>
                  </a:cubicBezTo>
                  <a:cubicBezTo>
                    <a:pt x="165" y="7"/>
                    <a:pt x="165" y="6"/>
                    <a:pt x="165" y="5"/>
                  </a:cubicBezTo>
                  <a:cubicBezTo>
                    <a:pt x="165" y="3"/>
                    <a:pt x="165" y="3"/>
                    <a:pt x="16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9A18696-FFD6-423F-AF50-1AEADE2A6902}"/>
                </a:ext>
              </a:extLst>
            </p:cNvPr>
            <p:cNvSpPr/>
            <p:nvPr/>
          </p:nvSpPr>
          <p:spPr bwMode="auto">
            <a:xfrm>
              <a:off x="6312571" y="3360799"/>
              <a:ext cx="1020862" cy="77633"/>
            </a:xfrm>
            <a:custGeom>
              <a:avLst/>
              <a:gdLst>
                <a:gd name="T0" fmla="*/ 165 w 165"/>
                <a:gd name="T1" fmla="*/ 0 h 8"/>
                <a:gd name="T2" fmla="*/ 0 w 165"/>
                <a:gd name="T3" fmla="*/ 0 h 8"/>
                <a:gd name="T4" fmla="*/ 0 w 165"/>
                <a:gd name="T5" fmla="*/ 5 h 8"/>
                <a:gd name="T6" fmla="*/ 0 w 165"/>
                <a:gd name="T7" fmla="*/ 8 h 8"/>
                <a:gd name="T8" fmla="*/ 165 w 165"/>
                <a:gd name="T9" fmla="*/ 8 h 8"/>
                <a:gd name="T10" fmla="*/ 165 w 165"/>
                <a:gd name="T11" fmla="*/ 5 h 8"/>
                <a:gd name="T12" fmla="*/ 165 w 165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8">
                  <a:moveTo>
                    <a:pt x="16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165" y="8"/>
                    <a:pt x="165" y="8"/>
                    <a:pt x="165" y="8"/>
                  </a:cubicBezTo>
                  <a:cubicBezTo>
                    <a:pt x="165" y="7"/>
                    <a:pt x="165" y="6"/>
                    <a:pt x="165" y="5"/>
                  </a:cubicBezTo>
                  <a:cubicBezTo>
                    <a:pt x="165" y="3"/>
                    <a:pt x="165" y="3"/>
                    <a:pt x="16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6D04A76-5439-4DC4-98AF-D3ADEEB12715}"/>
                </a:ext>
              </a:extLst>
            </p:cNvPr>
            <p:cNvSpPr/>
            <p:nvPr/>
          </p:nvSpPr>
          <p:spPr bwMode="auto">
            <a:xfrm>
              <a:off x="7824637" y="3360799"/>
              <a:ext cx="1020862" cy="77633"/>
            </a:xfrm>
            <a:custGeom>
              <a:avLst/>
              <a:gdLst>
                <a:gd name="T0" fmla="*/ 165 w 165"/>
                <a:gd name="T1" fmla="*/ 0 h 8"/>
                <a:gd name="T2" fmla="*/ 0 w 165"/>
                <a:gd name="T3" fmla="*/ 0 h 8"/>
                <a:gd name="T4" fmla="*/ 0 w 165"/>
                <a:gd name="T5" fmla="*/ 5 h 8"/>
                <a:gd name="T6" fmla="*/ 0 w 165"/>
                <a:gd name="T7" fmla="*/ 8 h 8"/>
                <a:gd name="T8" fmla="*/ 165 w 165"/>
                <a:gd name="T9" fmla="*/ 8 h 8"/>
                <a:gd name="T10" fmla="*/ 165 w 165"/>
                <a:gd name="T11" fmla="*/ 5 h 8"/>
                <a:gd name="T12" fmla="*/ 165 w 165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8">
                  <a:moveTo>
                    <a:pt x="16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165" y="8"/>
                    <a:pt x="165" y="8"/>
                    <a:pt x="165" y="8"/>
                  </a:cubicBezTo>
                  <a:cubicBezTo>
                    <a:pt x="165" y="7"/>
                    <a:pt x="165" y="6"/>
                    <a:pt x="165" y="5"/>
                  </a:cubicBezTo>
                  <a:cubicBezTo>
                    <a:pt x="165" y="3"/>
                    <a:pt x="165" y="3"/>
                    <a:pt x="16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B2A94547-9F34-4A1F-A1A9-6B54E8BDAE30}"/>
                </a:ext>
              </a:extLst>
            </p:cNvPr>
            <p:cNvGrpSpPr/>
            <p:nvPr/>
          </p:nvGrpSpPr>
          <p:grpSpPr>
            <a:xfrm>
              <a:off x="839416" y="2697840"/>
              <a:ext cx="1890536" cy="3360952"/>
              <a:chOff x="839416" y="2697840"/>
              <a:chExt cx="1890536" cy="3360952"/>
            </a:xfrm>
            <a:solidFill>
              <a:schemeClr val="accent1"/>
            </a:solidFill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73BD0C91-E337-4990-9B64-6F85F30D1813}"/>
                  </a:ext>
                </a:extLst>
              </p:cNvPr>
              <p:cNvSpPr/>
              <p:nvPr/>
            </p:nvSpPr>
            <p:spPr bwMode="auto">
              <a:xfrm>
                <a:off x="1332599" y="2697840"/>
                <a:ext cx="634747" cy="630179"/>
              </a:xfrm>
              <a:custGeom>
                <a:avLst/>
                <a:gdLst>
                  <a:gd name="T0" fmla="*/ 67 w 67"/>
                  <a:gd name="T1" fmla="*/ 32 h 66"/>
                  <a:gd name="T2" fmla="*/ 32 w 67"/>
                  <a:gd name="T3" fmla="*/ 1 h 66"/>
                  <a:gd name="T4" fmla="*/ 2 w 67"/>
                  <a:gd name="T5" fmla="*/ 36 h 66"/>
                  <a:gd name="T6" fmla="*/ 28 w 67"/>
                  <a:gd name="T7" fmla="*/ 66 h 66"/>
                  <a:gd name="T8" fmla="*/ 40 w 67"/>
                  <a:gd name="T9" fmla="*/ 66 h 66"/>
                  <a:gd name="T10" fmla="*/ 67 w 67"/>
                  <a:gd name="T11" fmla="*/ 3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66">
                    <a:moveTo>
                      <a:pt x="67" y="32"/>
                    </a:moveTo>
                    <a:cubicBezTo>
                      <a:pt x="65" y="14"/>
                      <a:pt x="50" y="0"/>
                      <a:pt x="32" y="1"/>
                    </a:cubicBezTo>
                    <a:cubicBezTo>
                      <a:pt x="13" y="2"/>
                      <a:pt x="0" y="18"/>
                      <a:pt x="2" y="36"/>
                    </a:cubicBezTo>
                    <a:cubicBezTo>
                      <a:pt x="3" y="51"/>
                      <a:pt x="13" y="63"/>
                      <a:pt x="28" y="66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56" y="63"/>
                      <a:pt x="67" y="48"/>
                      <a:pt x="67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78595225-D0F2-4A85-8F16-DD851B2E64D1}"/>
                  </a:ext>
                </a:extLst>
              </p:cNvPr>
              <p:cNvSpPr/>
              <p:nvPr/>
            </p:nvSpPr>
            <p:spPr bwMode="auto">
              <a:xfrm>
                <a:off x="839416" y="4971963"/>
                <a:ext cx="844807" cy="1086829"/>
              </a:xfrm>
              <a:custGeom>
                <a:avLst/>
                <a:gdLst>
                  <a:gd name="T0" fmla="*/ 75 w 89"/>
                  <a:gd name="T1" fmla="*/ 4 h 114"/>
                  <a:gd name="T2" fmla="*/ 62 w 89"/>
                  <a:gd name="T3" fmla="*/ 0 h 114"/>
                  <a:gd name="T4" fmla="*/ 48 w 89"/>
                  <a:gd name="T5" fmla="*/ 48 h 114"/>
                  <a:gd name="T6" fmla="*/ 7 w 89"/>
                  <a:gd name="T7" fmla="*/ 83 h 114"/>
                  <a:gd name="T8" fmla="*/ 6 w 89"/>
                  <a:gd name="T9" fmla="*/ 104 h 114"/>
                  <a:gd name="T10" fmla="*/ 9 w 89"/>
                  <a:gd name="T11" fmla="*/ 108 h 114"/>
                  <a:gd name="T12" fmla="*/ 30 w 89"/>
                  <a:gd name="T13" fmla="*/ 108 h 114"/>
                  <a:gd name="T14" fmla="*/ 75 w 89"/>
                  <a:gd name="T15" fmla="*/ 71 h 114"/>
                  <a:gd name="T16" fmla="*/ 80 w 89"/>
                  <a:gd name="T17" fmla="*/ 60 h 114"/>
                  <a:gd name="T18" fmla="*/ 80 w 89"/>
                  <a:gd name="T19" fmla="*/ 58 h 114"/>
                  <a:gd name="T20" fmla="*/ 89 w 89"/>
                  <a:gd name="T21" fmla="*/ 27 h 114"/>
                  <a:gd name="T22" fmla="*/ 75 w 89"/>
                  <a:gd name="T23" fmla="*/ 5 h 114"/>
                  <a:gd name="T24" fmla="*/ 75 w 89"/>
                  <a:gd name="T25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114">
                    <a:moveTo>
                      <a:pt x="75" y="4"/>
                    </a:moveTo>
                    <a:cubicBezTo>
                      <a:pt x="70" y="3"/>
                      <a:pt x="65" y="2"/>
                      <a:pt x="62" y="0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1" y="89"/>
                      <a:pt x="0" y="99"/>
                      <a:pt x="6" y="104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13" y="114"/>
                      <a:pt x="24" y="114"/>
                      <a:pt x="30" y="108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7" y="68"/>
                      <a:pt x="78" y="64"/>
                      <a:pt x="80" y="60"/>
                    </a:cubicBezTo>
                    <a:cubicBezTo>
                      <a:pt x="80" y="60"/>
                      <a:pt x="80" y="59"/>
                      <a:pt x="80" y="58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75" y="5"/>
                      <a:pt x="75" y="5"/>
                      <a:pt x="75" y="5"/>
                    </a:cubicBezTo>
                    <a:lnTo>
                      <a:pt x="75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8EAA171F-3811-48D3-B13E-A00AC74C8AD9}"/>
                  </a:ext>
                </a:extLst>
              </p:cNvPr>
              <p:cNvSpPr/>
              <p:nvPr/>
            </p:nvSpPr>
            <p:spPr bwMode="auto">
              <a:xfrm>
                <a:off x="2008443" y="3556344"/>
                <a:ext cx="54798" cy="164395"/>
              </a:xfrm>
              <a:custGeom>
                <a:avLst/>
                <a:gdLst>
                  <a:gd name="T0" fmla="*/ 6 w 6"/>
                  <a:gd name="T1" fmla="*/ 1 h 17"/>
                  <a:gd name="T2" fmla="*/ 0 w 6"/>
                  <a:gd name="T3" fmla="*/ 0 h 17"/>
                  <a:gd name="T4" fmla="*/ 0 w 6"/>
                  <a:gd name="T5" fmla="*/ 8 h 17"/>
                  <a:gd name="T6" fmla="*/ 1 w 6"/>
                  <a:gd name="T7" fmla="*/ 17 h 17"/>
                  <a:gd name="T8" fmla="*/ 6 w 6"/>
                  <a:gd name="T9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7">
                    <a:moveTo>
                      <a:pt x="6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5"/>
                      <a:pt x="0" y="8"/>
                    </a:cubicBezTo>
                    <a:cubicBezTo>
                      <a:pt x="1" y="17"/>
                      <a:pt x="1" y="17"/>
                      <a:pt x="1" y="17"/>
                    </a:cubicBezTo>
                    <a:lnTo>
                      <a:pt x="6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C80C74C2-FC79-46E4-A202-B65525C9155F}"/>
                  </a:ext>
                </a:extLst>
              </p:cNvPr>
              <p:cNvSpPr/>
              <p:nvPr/>
            </p:nvSpPr>
            <p:spPr bwMode="auto">
              <a:xfrm>
                <a:off x="2405731" y="3474147"/>
                <a:ext cx="264857" cy="273991"/>
              </a:xfrm>
              <a:custGeom>
                <a:avLst/>
                <a:gdLst>
                  <a:gd name="T0" fmla="*/ 0 w 28"/>
                  <a:gd name="T1" fmla="*/ 29 h 29"/>
                  <a:gd name="T2" fmla="*/ 28 w 28"/>
                  <a:gd name="T3" fmla="*/ 0 h 29"/>
                  <a:gd name="T4" fmla="*/ 2 w 28"/>
                  <a:gd name="T5" fmla="*/ 0 h 29"/>
                  <a:gd name="T6" fmla="*/ 2 w 28"/>
                  <a:gd name="T7" fmla="*/ 2 h 29"/>
                  <a:gd name="T8" fmla="*/ 4 w 28"/>
                  <a:gd name="T9" fmla="*/ 17 h 29"/>
                  <a:gd name="T10" fmla="*/ 0 w 28"/>
                  <a:gd name="T11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9">
                    <a:moveTo>
                      <a:pt x="0" y="29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2"/>
                    </a:cubicBezTo>
                    <a:cubicBezTo>
                      <a:pt x="5" y="7"/>
                      <a:pt x="6" y="12"/>
                      <a:pt x="4" y="17"/>
                    </a:cubicBez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BF172811-87C0-4C19-AE1A-F1BEB51276E6}"/>
                  </a:ext>
                </a:extLst>
              </p:cNvPr>
              <p:cNvSpPr/>
              <p:nvPr/>
            </p:nvSpPr>
            <p:spPr bwMode="auto">
              <a:xfrm>
                <a:off x="2455961" y="3204725"/>
                <a:ext cx="273991" cy="123297"/>
              </a:xfrm>
              <a:custGeom>
                <a:avLst/>
                <a:gdLst>
                  <a:gd name="T0" fmla="*/ 25 w 29"/>
                  <a:gd name="T1" fmla="*/ 5 h 13"/>
                  <a:gd name="T2" fmla="*/ 6 w 29"/>
                  <a:gd name="T3" fmla="*/ 6 h 13"/>
                  <a:gd name="T4" fmla="*/ 0 w 29"/>
                  <a:gd name="T5" fmla="*/ 13 h 13"/>
                  <a:gd name="T6" fmla="*/ 29 w 29"/>
                  <a:gd name="T7" fmla="*/ 13 h 13"/>
                  <a:gd name="T8" fmla="*/ 25 w 29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3">
                    <a:moveTo>
                      <a:pt x="25" y="5"/>
                    </a:moveTo>
                    <a:cubicBezTo>
                      <a:pt x="19" y="0"/>
                      <a:pt x="11" y="0"/>
                      <a:pt x="6" y="6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0"/>
                      <a:pt x="27" y="7"/>
                      <a:pt x="25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25897FEA-6DE7-4B8B-8833-B3E6161D3A0D}"/>
                  </a:ext>
                </a:extLst>
              </p:cNvPr>
              <p:cNvSpPr/>
              <p:nvPr/>
            </p:nvSpPr>
            <p:spPr bwMode="auto">
              <a:xfrm>
                <a:off x="1277801" y="3460449"/>
                <a:ext cx="908738" cy="2589213"/>
              </a:xfrm>
              <a:custGeom>
                <a:avLst/>
                <a:gdLst>
                  <a:gd name="T0" fmla="*/ 8 w 96"/>
                  <a:gd name="T1" fmla="*/ 0 h 271"/>
                  <a:gd name="T2" fmla="*/ 0 w 96"/>
                  <a:gd name="T3" fmla="*/ 20 h 271"/>
                  <a:gd name="T4" fmla="*/ 3 w 96"/>
                  <a:gd name="T5" fmla="*/ 127 h 271"/>
                  <a:gd name="T6" fmla="*/ 32 w 96"/>
                  <a:gd name="T7" fmla="*/ 155 h 271"/>
                  <a:gd name="T8" fmla="*/ 32 w 96"/>
                  <a:gd name="T9" fmla="*/ 155 h 271"/>
                  <a:gd name="T10" fmla="*/ 61 w 96"/>
                  <a:gd name="T11" fmla="*/ 202 h 271"/>
                  <a:gd name="T12" fmla="*/ 61 w 96"/>
                  <a:gd name="T13" fmla="*/ 256 h 271"/>
                  <a:gd name="T14" fmla="*/ 77 w 96"/>
                  <a:gd name="T15" fmla="*/ 271 h 271"/>
                  <a:gd name="T16" fmla="*/ 81 w 96"/>
                  <a:gd name="T17" fmla="*/ 271 h 271"/>
                  <a:gd name="T18" fmla="*/ 96 w 96"/>
                  <a:gd name="T19" fmla="*/ 256 h 271"/>
                  <a:gd name="T20" fmla="*/ 96 w 96"/>
                  <a:gd name="T21" fmla="*/ 197 h 271"/>
                  <a:gd name="T22" fmla="*/ 93 w 96"/>
                  <a:gd name="T23" fmla="*/ 188 h 271"/>
                  <a:gd name="T24" fmla="*/ 92 w 96"/>
                  <a:gd name="T25" fmla="*/ 185 h 271"/>
                  <a:gd name="T26" fmla="*/ 67 w 96"/>
                  <a:gd name="T27" fmla="*/ 145 h 271"/>
                  <a:gd name="T28" fmla="*/ 74 w 96"/>
                  <a:gd name="T29" fmla="*/ 126 h 271"/>
                  <a:gd name="T30" fmla="*/ 73 w 96"/>
                  <a:gd name="T31" fmla="*/ 76 h 271"/>
                  <a:gd name="T32" fmla="*/ 22 w 96"/>
                  <a:gd name="T33" fmla="*/ 34 h 271"/>
                  <a:gd name="T34" fmla="*/ 19 w 96"/>
                  <a:gd name="T35" fmla="*/ 6 h 271"/>
                  <a:gd name="T36" fmla="*/ 25 w 96"/>
                  <a:gd name="T37" fmla="*/ 1 h 271"/>
                  <a:gd name="T38" fmla="*/ 11 w 96"/>
                  <a:gd name="T39" fmla="*/ 1 h 271"/>
                  <a:gd name="T40" fmla="*/ 8 w 96"/>
                  <a:gd name="T41" fmla="*/ 0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" h="271">
                    <a:moveTo>
                      <a:pt x="8" y="0"/>
                    </a:moveTo>
                    <a:cubicBezTo>
                      <a:pt x="3" y="5"/>
                      <a:pt x="0" y="12"/>
                      <a:pt x="0" y="20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43"/>
                      <a:pt x="16" y="155"/>
                      <a:pt x="32" y="155"/>
                    </a:cubicBezTo>
                    <a:cubicBezTo>
                      <a:pt x="32" y="155"/>
                      <a:pt x="32" y="155"/>
                      <a:pt x="32" y="155"/>
                    </a:cubicBezTo>
                    <a:cubicBezTo>
                      <a:pt x="61" y="202"/>
                      <a:pt x="61" y="202"/>
                      <a:pt x="61" y="202"/>
                    </a:cubicBezTo>
                    <a:cubicBezTo>
                      <a:pt x="61" y="256"/>
                      <a:pt x="61" y="256"/>
                      <a:pt x="61" y="256"/>
                    </a:cubicBezTo>
                    <a:cubicBezTo>
                      <a:pt x="61" y="264"/>
                      <a:pt x="68" y="271"/>
                      <a:pt x="77" y="271"/>
                    </a:cubicBezTo>
                    <a:cubicBezTo>
                      <a:pt x="81" y="271"/>
                      <a:pt x="81" y="271"/>
                      <a:pt x="81" y="271"/>
                    </a:cubicBezTo>
                    <a:cubicBezTo>
                      <a:pt x="89" y="271"/>
                      <a:pt x="96" y="264"/>
                      <a:pt x="96" y="256"/>
                    </a:cubicBezTo>
                    <a:cubicBezTo>
                      <a:pt x="96" y="197"/>
                      <a:pt x="96" y="197"/>
                      <a:pt x="96" y="197"/>
                    </a:cubicBezTo>
                    <a:cubicBezTo>
                      <a:pt x="96" y="194"/>
                      <a:pt x="95" y="190"/>
                      <a:pt x="93" y="188"/>
                    </a:cubicBezTo>
                    <a:cubicBezTo>
                      <a:pt x="93" y="188"/>
                      <a:pt x="93" y="186"/>
                      <a:pt x="92" y="185"/>
                    </a:cubicBezTo>
                    <a:cubicBezTo>
                      <a:pt x="67" y="145"/>
                      <a:pt x="67" y="145"/>
                      <a:pt x="67" y="145"/>
                    </a:cubicBezTo>
                    <a:cubicBezTo>
                      <a:pt x="71" y="140"/>
                      <a:pt x="74" y="134"/>
                      <a:pt x="74" y="126"/>
                    </a:cubicBezTo>
                    <a:cubicBezTo>
                      <a:pt x="73" y="76"/>
                      <a:pt x="73" y="76"/>
                      <a:pt x="73" y="76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3" y="27"/>
                      <a:pt x="12" y="15"/>
                      <a:pt x="19" y="6"/>
                    </a:cubicBezTo>
                    <a:cubicBezTo>
                      <a:pt x="20" y="4"/>
                      <a:pt x="23" y="2"/>
                      <a:pt x="25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1"/>
                      <a:pt x="9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F3122C25-9315-455E-9C6D-B9441B8E283D}"/>
                  </a:ext>
                </a:extLst>
              </p:cNvPr>
              <p:cNvSpPr/>
              <p:nvPr/>
            </p:nvSpPr>
            <p:spPr bwMode="auto">
              <a:xfrm>
                <a:off x="1684223" y="3474147"/>
                <a:ext cx="264857" cy="219193"/>
              </a:xfrm>
              <a:custGeom>
                <a:avLst/>
                <a:gdLst>
                  <a:gd name="T0" fmla="*/ 4 w 28"/>
                  <a:gd name="T1" fmla="*/ 2 h 23"/>
                  <a:gd name="T2" fmla="*/ 28 w 28"/>
                  <a:gd name="T3" fmla="*/ 23 h 23"/>
                  <a:gd name="T4" fmla="*/ 28 w 28"/>
                  <a:gd name="T5" fmla="*/ 17 h 23"/>
                  <a:gd name="T6" fmla="*/ 22 w 28"/>
                  <a:gd name="T7" fmla="*/ 0 h 23"/>
                  <a:gd name="T8" fmla="*/ 0 w 28"/>
                  <a:gd name="T9" fmla="*/ 0 h 23"/>
                  <a:gd name="T10" fmla="*/ 4 w 28"/>
                  <a:gd name="T11" fmla="*/ 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3">
                    <a:moveTo>
                      <a:pt x="4" y="2"/>
                    </a:move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8" y="10"/>
                      <a:pt x="25" y="4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3" y="1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1793D703-355C-46A3-BCC7-366BBC25289D}"/>
                  </a:ext>
                </a:extLst>
              </p:cNvPr>
              <p:cNvSpPr/>
              <p:nvPr/>
            </p:nvSpPr>
            <p:spPr bwMode="auto">
              <a:xfrm>
                <a:off x="1465030" y="3433049"/>
                <a:ext cx="940702" cy="744343"/>
              </a:xfrm>
              <a:custGeom>
                <a:avLst/>
                <a:gdLst>
                  <a:gd name="T0" fmla="*/ 92 w 99"/>
                  <a:gd name="T1" fmla="*/ 4 h 78"/>
                  <a:gd name="T2" fmla="*/ 89 w 99"/>
                  <a:gd name="T3" fmla="*/ 2 h 78"/>
                  <a:gd name="T4" fmla="*/ 76 w 99"/>
                  <a:gd name="T5" fmla="*/ 4 h 78"/>
                  <a:gd name="T6" fmla="*/ 71 w 99"/>
                  <a:gd name="T7" fmla="*/ 11 h 78"/>
                  <a:gd name="T8" fmla="*/ 61 w 99"/>
                  <a:gd name="T9" fmla="*/ 42 h 78"/>
                  <a:gd name="T10" fmla="*/ 24 w 99"/>
                  <a:gd name="T11" fmla="*/ 11 h 78"/>
                  <a:gd name="T12" fmla="*/ 5 w 99"/>
                  <a:gd name="T13" fmla="*/ 13 h 78"/>
                  <a:gd name="T14" fmla="*/ 7 w 99"/>
                  <a:gd name="T15" fmla="*/ 33 h 78"/>
                  <a:gd name="T16" fmla="*/ 59 w 99"/>
                  <a:gd name="T17" fmla="*/ 75 h 78"/>
                  <a:gd name="T18" fmla="*/ 68 w 99"/>
                  <a:gd name="T19" fmla="*/ 78 h 78"/>
                  <a:gd name="T20" fmla="*/ 80 w 99"/>
                  <a:gd name="T21" fmla="*/ 69 h 78"/>
                  <a:gd name="T22" fmla="*/ 98 w 99"/>
                  <a:gd name="T23" fmla="*/ 19 h 78"/>
                  <a:gd name="T24" fmla="*/ 92 w 99"/>
                  <a:gd name="T25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" h="78">
                    <a:moveTo>
                      <a:pt x="92" y="4"/>
                    </a:moveTo>
                    <a:cubicBezTo>
                      <a:pt x="91" y="3"/>
                      <a:pt x="89" y="2"/>
                      <a:pt x="89" y="2"/>
                    </a:cubicBezTo>
                    <a:cubicBezTo>
                      <a:pt x="84" y="0"/>
                      <a:pt x="79" y="1"/>
                      <a:pt x="76" y="4"/>
                    </a:cubicBezTo>
                    <a:cubicBezTo>
                      <a:pt x="74" y="6"/>
                      <a:pt x="72" y="8"/>
                      <a:pt x="71" y="11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18" y="6"/>
                      <a:pt x="10" y="7"/>
                      <a:pt x="5" y="13"/>
                    </a:cubicBezTo>
                    <a:cubicBezTo>
                      <a:pt x="0" y="19"/>
                      <a:pt x="0" y="28"/>
                      <a:pt x="7" y="33"/>
                    </a:cubicBezTo>
                    <a:cubicBezTo>
                      <a:pt x="59" y="75"/>
                      <a:pt x="59" y="75"/>
                      <a:pt x="59" y="75"/>
                    </a:cubicBezTo>
                    <a:cubicBezTo>
                      <a:pt x="61" y="77"/>
                      <a:pt x="64" y="78"/>
                      <a:pt x="68" y="78"/>
                    </a:cubicBezTo>
                    <a:cubicBezTo>
                      <a:pt x="73" y="78"/>
                      <a:pt x="79" y="75"/>
                      <a:pt x="80" y="6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9" y="14"/>
                      <a:pt x="96" y="7"/>
                      <a:pt x="92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B5D48645-F8DD-425B-987F-DE70AEFFEC7D}"/>
                </a:ext>
              </a:extLst>
            </p:cNvPr>
            <p:cNvGrpSpPr/>
            <p:nvPr/>
          </p:nvGrpSpPr>
          <p:grpSpPr>
            <a:xfrm>
              <a:off x="9534054" y="2697840"/>
              <a:ext cx="1890538" cy="3360952"/>
              <a:chOff x="9534054" y="2697840"/>
              <a:chExt cx="1890538" cy="3360952"/>
            </a:xfrm>
            <a:solidFill>
              <a:schemeClr val="tx1">
                <a:lumMod val="50000"/>
                <a:lumOff val="50000"/>
              </a:schemeClr>
            </a:solidFill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D71E17EF-FF03-4620-BA8E-26553FB66217}"/>
                  </a:ext>
                </a:extLst>
              </p:cNvPr>
              <p:cNvSpPr/>
              <p:nvPr/>
            </p:nvSpPr>
            <p:spPr bwMode="auto">
              <a:xfrm>
                <a:off x="10282962" y="2697840"/>
                <a:ext cx="648445" cy="630179"/>
              </a:xfrm>
              <a:custGeom>
                <a:avLst/>
                <a:gdLst>
                  <a:gd name="T0" fmla="*/ 1 w 68"/>
                  <a:gd name="T1" fmla="*/ 32 h 66"/>
                  <a:gd name="T2" fmla="*/ 36 w 68"/>
                  <a:gd name="T3" fmla="*/ 1 h 66"/>
                  <a:gd name="T4" fmla="*/ 67 w 68"/>
                  <a:gd name="T5" fmla="*/ 36 h 66"/>
                  <a:gd name="T6" fmla="*/ 40 w 68"/>
                  <a:gd name="T7" fmla="*/ 66 h 66"/>
                  <a:gd name="T8" fmla="*/ 28 w 68"/>
                  <a:gd name="T9" fmla="*/ 66 h 66"/>
                  <a:gd name="T10" fmla="*/ 1 w 68"/>
                  <a:gd name="T11" fmla="*/ 3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" h="66">
                    <a:moveTo>
                      <a:pt x="1" y="32"/>
                    </a:moveTo>
                    <a:cubicBezTo>
                      <a:pt x="2" y="14"/>
                      <a:pt x="18" y="0"/>
                      <a:pt x="36" y="1"/>
                    </a:cubicBezTo>
                    <a:cubicBezTo>
                      <a:pt x="54" y="2"/>
                      <a:pt x="68" y="18"/>
                      <a:pt x="67" y="36"/>
                    </a:cubicBezTo>
                    <a:cubicBezTo>
                      <a:pt x="66" y="51"/>
                      <a:pt x="54" y="63"/>
                      <a:pt x="40" y="66"/>
                    </a:cubicBezTo>
                    <a:cubicBezTo>
                      <a:pt x="28" y="66"/>
                      <a:pt x="28" y="66"/>
                      <a:pt x="28" y="66"/>
                    </a:cubicBezTo>
                    <a:cubicBezTo>
                      <a:pt x="12" y="63"/>
                      <a:pt x="0" y="48"/>
                      <a:pt x="1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C43B020B-11E3-46BC-9E87-8A9FC4C1F1BF}"/>
                  </a:ext>
                </a:extLst>
              </p:cNvPr>
              <p:cNvSpPr/>
              <p:nvPr/>
            </p:nvSpPr>
            <p:spPr bwMode="auto">
              <a:xfrm>
                <a:off x="10579786" y="4971963"/>
                <a:ext cx="844806" cy="1086829"/>
              </a:xfrm>
              <a:custGeom>
                <a:avLst/>
                <a:gdLst>
                  <a:gd name="T0" fmla="*/ 15 w 89"/>
                  <a:gd name="T1" fmla="*/ 4 h 114"/>
                  <a:gd name="T2" fmla="*/ 27 w 89"/>
                  <a:gd name="T3" fmla="*/ 0 h 114"/>
                  <a:gd name="T4" fmla="*/ 42 w 89"/>
                  <a:gd name="T5" fmla="*/ 48 h 114"/>
                  <a:gd name="T6" fmla="*/ 82 w 89"/>
                  <a:gd name="T7" fmla="*/ 83 h 114"/>
                  <a:gd name="T8" fmla="*/ 83 w 89"/>
                  <a:gd name="T9" fmla="*/ 104 h 114"/>
                  <a:gd name="T10" fmla="*/ 80 w 89"/>
                  <a:gd name="T11" fmla="*/ 108 h 114"/>
                  <a:gd name="T12" fmla="*/ 60 w 89"/>
                  <a:gd name="T13" fmla="*/ 108 h 114"/>
                  <a:gd name="T14" fmla="*/ 15 w 89"/>
                  <a:gd name="T15" fmla="*/ 71 h 114"/>
                  <a:gd name="T16" fmla="*/ 10 w 89"/>
                  <a:gd name="T17" fmla="*/ 60 h 114"/>
                  <a:gd name="T18" fmla="*/ 9 w 89"/>
                  <a:gd name="T19" fmla="*/ 58 h 114"/>
                  <a:gd name="T20" fmla="*/ 0 w 89"/>
                  <a:gd name="T21" fmla="*/ 27 h 114"/>
                  <a:gd name="T22" fmla="*/ 13 w 89"/>
                  <a:gd name="T23" fmla="*/ 5 h 114"/>
                  <a:gd name="T24" fmla="*/ 15 w 89"/>
                  <a:gd name="T25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114">
                    <a:moveTo>
                      <a:pt x="15" y="4"/>
                    </a:moveTo>
                    <a:cubicBezTo>
                      <a:pt x="19" y="3"/>
                      <a:pt x="23" y="2"/>
                      <a:pt x="27" y="0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82" y="83"/>
                      <a:pt x="82" y="83"/>
                      <a:pt x="82" y="83"/>
                    </a:cubicBezTo>
                    <a:cubicBezTo>
                      <a:pt x="88" y="89"/>
                      <a:pt x="89" y="99"/>
                      <a:pt x="83" y="104"/>
                    </a:cubicBezTo>
                    <a:cubicBezTo>
                      <a:pt x="80" y="108"/>
                      <a:pt x="80" y="108"/>
                      <a:pt x="80" y="108"/>
                    </a:cubicBezTo>
                    <a:cubicBezTo>
                      <a:pt x="74" y="114"/>
                      <a:pt x="65" y="114"/>
                      <a:pt x="60" y="108"/>
                    </a:cubicBezTo>
                    <a:cubicBezTo>
                      <a:pt x="15" y="71"/>
                      <a:pt x="15" y="71"/>
                      <a:pt x="15" y="71"/>
                    </a:cubicBezTo>
                    <a:cubicBezTo>
                      <a:pt x="12" y="68"/>
                      <a:pt x="10" y="64"/>
                      <a:pt x="10" y="60"/>
                    </a:cubicBezTo>
                    <a:cubicBezTo>
                      <a:pt x="10" y="60"/>
                      <a:pt x="9" y="59"/>
                      <a:pt x="9" y="5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3" y="5"/>
                      <a:pt x="13" y="5"/>
                      <a:pt x="13" y="5"/>
                    </a:cubicBezTo>
                    <a:lnTo>
                      <a:pt x="15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2207DDA-29D9-4620-A75E-492EF491BED0}"/>
                  </a:ext>
                </a:extLst>
              </p:cNvPr>
              <p:cNvSpPr/>
              <p:nvPr/>
            </p:nvSpPr>
            <p:spPr bwMode="auto">
              <a:xfrm>
                <a:off x="10191631" y="3556344"/>
                <a:ext cx="63931" cy="164395"/>
              </a:xfrm>
              <a:custGeom>
                <a:avLst/>
                <a:gdLst>
                  <a:gd name="T0" fmla="*/ 0 w 7"/>
                  <a:gd name="T1" fmla="*/ 1 h 17"/>
                  <a:gd name="T2" fmla="*/ 7 w 7"/>
                  <a:gd name="T3" fmla="*/ 0 h 17"/>
                  <a:gd name="T4" fmla="*/ 6 w 7"/>
                  <a:gd name="T5" fmla="*/ 8 h 17"/>
                  <a:gd name="T6" fmla="*/ 6 w 7"/>
                  <a:gd name="T7" fmla="*/ 17 h 17"/>
                  <a:gd name="T8" fmla="*/ 0 w 7"/>
                  <a:gd name="T9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7">
                    <a:moveTo>
                      <a:pt x="0" y="1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7" y="3"/>
                      <a:pt x="6" y="5"/>
                      <a:pt x="6" y="8"/>
                    </a:cubicBezTo>
                    <a:cubicBezTo>
                      <a:pt x="6" y="17"/>
                      <a:pt x="6" y="17"/>
                      <a:pt x="6" y="17"/>
                    </a:cubicBez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86C2F175-F7BD-47BC-9526-42DA6A52F69C}"/>
                  </a:ext>
                </a:extLst>
              </p:cNvPr>
              <p:cNvSpPr/>
              <p:nvPr/>
            </p:nvSpPr>
            <p:spPr bwMode="auto">
              <a:xfrm>
                <a:off x="9593419" y="3474147"/>
                <a:ext cx="264857" cy="273991"/>
              </a:xfrm>
              <a:custGeom>
                <a:avLst/>
                <a:gdLst>
                  <a:gd name="T0" fmla="*/ 28 w 28"/>
                  <a:gd name="T1" fmla="*/ 29 h 29"/>
                  <a:gd name="T2" fmla="*/ 0 w 28"/>
                  <a:gd name="T3" fmla="*/ 0 h 29"/>
                  <a:gd name="T4" fmla="*/ 26 w 28"/>
                  <a:gd name="T5" fmla="*/ 0 h 29"/>
                  <a:gd name="T6" fmla="*/ 25 w 28"/>
                  <a:gd name="T7" fmla="*/ 2 h 29"/>
                  <a:gd name="T8" fmla="*/ 24 w 28"/>
                  <a:gd name="T9" fmla="*/ 17 h 29"/>
                  <a:gd name="T10" fmla="*/ 28 w 28"/>
                  <a:gd name="T11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9">
                    <a:moveTo>
                      <a:pt x="28" y="2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5" y="1"/>
                      <a:pt x="25" y="2"/>
                    </a:cubicBezTo>
                    <a:cubicBezTo>
                      <a:pt x="23" y="7"/>
                      <a:pt x="23" y="12"/>
                      <a:pt x="24" y="17"/>
                    </a:cubicBezTo>
                    <a:lnTo>
                      <a:pt x="28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B85C0864-D934-4AE0-A0EE-953B3024379E}"/>
                  </a:ext>
                </a:extLst>
              </p:cNvPr>
              <p:cNvSpPr/>
              <p:nvPr/>
            </p:nvSpPr>
            <p:spPr bwMode="auto">
              <a:xfrm>
                <a:off x="9534054" y="3204725"/>
                <a:ext cx="273991" cy="123297"/>
              </a:xfrm>
              <a:custGeom>
                <a:avLst/>
                <a:gdLst>
                  <a:gd name="T0" fmla="*/ 4 w 29"/>
                  <a:gd name="T1" fmla="*/ 5 h 13"/>
                  <a:gd name="T2" fmla="*/ 22 w 29"/>
                  <a:gd name="T3" fmla="*/ 6 h 13"/>
                  <a:gd name="T4" fmla="*/ 29 w 29"/>
                  <a:gd name="T5" fmla="*/ 13 h 13"/>
                  <a:gd name="T6" fmla="*/ 0 w 29"/>
                  <a:gd name="T7" fmla="*/ 13 h 13"/>
                  <a:gd name="T8" fmla="*/ 4 w 29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3">
                    <a:moveTo>
                      <a:pt x="4" y="5"/>
                    </a:moveTo>
                    <a:cubicBezTo>
                      <a:pt x="10" y="0"/>
                      <a:pt x="18" y="0"/>
                      <a:pt x="22" y="6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0"/>
                      <a:pt x="1" y="7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B605C8E0-ED71-401B-A439-CECA0E076AC9}"/>
                  </a:ext>
                </a:extLst>
              </p:cNvPr>
              <p:cNvSpPr/>
              <p:nvPr/>
            </p:nvSpPr>
            <p:spPr bwMode="auto">
              <a:xfrm>
                <a:off x="10077470" y="3460449"/>
                <a:ext cx="908737" cy="2589213"/>
              </a:xfrm>
              <a:custGeom>
                <a:avLst/>
                <a:gdLst>
                  <a:gd name="T0" fmla="*/ 88 w 96"/>
                  <a:gd name="T1" fmla="*/ 0 h 271"/>
                  <a:gd name="T2" fmla="*/ 95 w 96"/>
                  <a:gd name="T3" fmla="*/ 20 h 271"/>
                  <a:gd name="T4" fmla="*/ 93 w 96"/>
                  <a:gd name="T5" fmla="*/ 127 h 271"/>
                  <a:gd name="T6" fmla="*/ 64 w 96"/>
                  <a:gd name="T7" fmla="*/ 155 h 271"/>
                  <a:gd name="T8" fmla="*/ 64 w 96"/>
                  <a:gd name="T9" fmla="*/ 155 h 271"/>
                  <a:gd name="T10" fmla="*/ 35 w 96"/>
                  <a:gd name="T11" fmla="*/ 202 h 271"/>
                  <a:gd name="T12" fmla="*/ 35 w 96"/>
                  <a:gd name="T13" fmla="*/ 256 h 271"/>
                  <a:gd name="T14" fmla="*/ 19 w 96"/>
                  <a:gd name="T15" fmla="*/ 271 h 271"/>
                  <a:gd name="T16" fmla="*/ 15 w 96"/>
                  <a:gd name="T17" fmla="*/ 271 h 271"/>
                  <a:gd name="T18" fmla="*/ 0 w 96"/>
                  <a:gd name="T19" fmla="*/ 256 h 271"/>
                  <a:gd name="T20" fmla="*/ 0 w 96"/>
                  <a:gd name="T21" fmla="*/ 197 h 271"/>
                  <a:gd name="T22" fmla="*/ 3 w 96"/>
                  <a:gd name="T23" fmla="*/ 188 h 271"/>
                  <a:gd name="T24" fmla="*/ 4 w 96"/>
                  <a:gd name="T25" fmla="*/ 185 h 271"/>
                  <a:gd name="T26" fmla="*/ 29 w 96"/>
                  <a:gd name="T27" fmla="*/ 145 h 271"/>
                  <a:gd name="T28" fmla="*/ 22 w 96"/>
                  <a:gd name="T29" fmla="*/ 126 h 271"/>
                  <a:gd name="T30" fmla="*/ 23 w 96"/>
                  <a:gd name="T31" fmla="*/ 76 h 271"/>
                  <a:gd name="T32" fmla="*/ 75 w 96"/>
                  <a:gd name="T33" fmla="*/ 34 h 271"/>
                  <a:gd name="T34" fmla="*/ 76 w 96"/>
                  <a:gd name="T35" fmla="*/ 6 h 271"/>
                  <a:gd name="T36" fmla="*/ 71 w 96"/>
                  <a:gd name="T37" fmla="*/ 1 h 271"/>
                  <a:gd name="T38" fmla="*/ 85 w 96"/>
                  <a:gd name="T39" fmla="*/ 1 h 271"/>
                  <a:gd name="T40" fmla="*/ 88 w 96"/>
                  <a:gd name="T41" fmla="*/ 0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" h="271">
                    <a:moveTo>
                      <a:pt x="88" y="0"/>
                    </a:moveTo>
                    <a:cubicBezTo>
                      <a:pt x="93" y="5"/>
                      <a:pt x="96" y="12"/>
                      <a:pt x="95" y="20"/>
                    </a:cubicBezTo>
                    <a:cubicBezTo>
                      <a:pt x="93" y="127"/>
                      <a:pt x="93" y="127"/>
                      <a:pt x="93" y="127"/>
                    </a:cubicBezTo>
                    <a:cubicBezTo>
                      <a:pt x="93" y="143"/>
                      <a:pt x="80" y="155"/>
                      <a:pt x="64" y="155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56"/>
                      <a:pt x="35" y="256"/>
                      <a:pt x="35" y="256"/>
                    </a:cubicBezTo>
                    <a:cubicBezTo>
                      <a:pt x="35" y="264"/>
                      <a:pt x="28" y="271"/>
                      <a:pt x="19" y="271"/>
                    </a:cubicBezTo>
                    <a:cubicBezTo>
                      <a:pt x="15" y="271"/>
                      <a:pt x="15" y="271"/>
                      <a:pt x="15" y="271"/>
                    </a:cubicBezTo>
                    <a:cubicBezTo>
                      <a:pt x="7" y="271"/>
                      <a:pt x="0" y="264"/>
                      <a:pt x="0" y="256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194"/>
                      <a:pt x="1" y="190"/>
                      <a:pt x="3" y="188"/>
                    </a:cubicBezTo>
                    <a:cubicBezTo>
                      <a:pt x="4" y="187"/>
                      <a:pt x="4" y="186"/>
                      <a:pt x="4" y="185"/>
                    </a:cubicBezTo>
                    <a:cubicBezTo>
                      <a:pt x="29" y="145"/>
                      <a:pt x="29" y="145"/>
                      <a:pt x="29" y="145"/>
                    </a:cubicBezTo>
                    <a:cubicBezTo>
                      <a:pt x="24" y="140"/>
                      <a:pt x="22" y="134"/>
                      <a:pt x="22" y="126"/>
                    </a:cubicBezTo>
                    <a:cubicBezTo>
                      <a:pt x="23" y="76"/>
                      <a:pt x="23" y="76"/>
                      <a:pt x="23" y="76"/>
                    </a:cubicBezTo>
                    <a:cubicBezTo>
                      <a:pt x="75" y="34"/>
                      <a:pt x="75" y="34"/>
                      <a:pt x="75" y="34"/>
                    </a:cubicBezTo>
                    <a:cubicBezTo>
                      <a:pt x="83" y="27"/>
                      <a:pt x="83" y="15"/>
                      <a:pt x="76" y="6"/>
                    </a:cubicBezTo>
                    <a:cubicBezTo>
                      <a:pt x="75" y="4"/>
                      <a:pt x="73" y="2"/>
                      <a:pt x="71" y="1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6" y="1"/>
                      <a:pt x="87" y="1"/>
                      <a:pt x="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BDF9BD61-B20B-4C57-A4B4-2163C92915F3}"/>
                  </a:ext>
                </a:extLst>
              </p:cNvPr>
              <p:cNvSpPr/>
              <p:nvPr/>
            </p:nvSpPr>
            <p:spPr bwMode="auto">
              <a:xfrm>
                <a:off x="10305795" y="3474147"/>
                <a:ext cx="273991" cy="219193"/>
              </a:xfrm>
              <a:custGeom>
                <a:avLst/>
                <a:gdLst>
                  <a:gd name="T0" fmla="*/ 25 w 29"/>
                  <a:gd name="T1" fmla="*/ 2 h 23"/>
                  <a:gd name="T2" fmla="*/ 0 w 29"/>
                  <a:gd name="T3" fmla="*/ 23 h 23"/>
                  <a:gd name="T4" fmla="*/ 0 w 29"/>
                  <a:gd name="T5" fmla="*/ 17 h 23"/>
                  <a:gd name="T6" fmla="*/ 7 w 29"/>
                  <a:gd name="T7" fmla="*/ 0 h 23"/>
                  <a:gd name="T8" fmla="*/ 29 w 29"/>
                  <a:gd name="T9" fmla="*/ 0 h 23"/>
                  <a:gd name="T10" fmla="*/ 25 w 29"/>
                  <a:gd name="T11" fmla="*/ 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3">
                    <a:moveTo>
                      <a:pt x="25" y="2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0"/>
                      <a:pt x="3" y="4"/>
                      <a:pt x="7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7" y="1"/>
                      <a:pt x="26" y="1"/>
                      <a:pt x="25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D9E9A885-F255-4BAC-AC58-091CD38A065A}"/>
                  </a:ext>
                </a:extLst>
              </p:cNvPr>
              <p:cNvSpPr/>
              <p:nvPr/>
            </p:nvSpPr>
            <p:spPr bwMode="auto">
              <a:xfrm>
                <a:off x="9858278" y="3433049"/>
                <a:ext cx="940702" cy="744343"/>
              </a:xfrm>
              <a:custGeom>
                <a:avLst/>
                <a:gdLst>
                  <a:gd name="T0" fmla="*/ 8 w 99"/>
                  <a:gd name="T1" fmla="*/ 4 h 78"/>
                  <a:gd name="T2" fmla="*/ 11 w 99"/>
                  <a:gd name="T3" fmla="*/ 2 h 78"/>
                  <a:gd name="T4" fmla="*/ 23 w 99"/>
                  <a:gd name="T5" fmla="*/ 4 h 78"/>
                  <a:gd name="T6" fmla="*/ 28 w 99"/>
                  <a:gd name="T7" fmla="*/ 11 h 78"/>
                  <a:gd name="T8" fmla="*/ 38 w 99"/>
                  <a:gd name="T9" fmla="*/ 42 h 78"/>
                  <a:gd name="T10" fmla="*/ 75 w 99"/>
                  <a:gd name="T11" fmla="*/ 11 h 78"/>
                  <a:gd name="T12" fmla="*/ 94 w 99"/>
                  <a:gd name="T13" fmla="*/ 13 h 78"/>
                  <a:gd name="T14" fmla="*/ 92 w 99"/>
                  <a:gd name="T15" fmla="*/ 33 h 78"/>
                  <a:gd name="T16" fmla="*/ 41 w 99"/>
                  <a:gd name="T17" fmla="*/ 75 h 78"/>
                  <a:gd name="T18" fmla="*/ 31 w 99"/>
                  <a:gd name="T19" fmla="*/ 78 h 78"/>
                  <a:gd name="T20" fmla="*/ 19 w 99"/>
                  <a:gd name="T21" fmla="*/ 69 h 78"/>
                  <a:gd name="T22" fmla="*/ 2 w 99"/>
                  <a:gd name="T23" fmla="*/ 19 h 78"/>
                  <a:gd name="T24" fmla="*/ 8 w 99"/>
                  <a:gd name="T25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" h="78">
                    <a:moveTo>
                      <a:pt x="8" y="4"/>
                    </a:moveTo>
                    <a:cubicBezTo>
                      <a:pt x="8" y="3"/>
                      <a:pt x="9" y="2"/>
                      <a:pt x="11" y="2"/>
                    </a:cubicBezTo>
                    <a:cubicBezTo>
                      <a:pt x="15" y="0"/>
                      <a:pt x="19" y="1"/>
                      <a:pt x="23" y="4"/>
                    </a:cubicBezTo>
                    <a:cubicBezTo>
                      <a:pt x="25" y="6"/>
                      <a:pt x="27" y="8"/>
                      <a:pt x="28" y="11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80" y="6"/>
                      <a:pt x="89" y="7"/>
                      <a:pt x="94" y="13"/>
                    </a:cubicBezTo>
                    <a:cubicBezTo>
                      <a:pt x="99" y="19"/>
                      <a:pt x="98" y="28"/>
                      <a:pt x="92" y="33"/>
                    </a:cubicBezTo>
                    <a:cubicBezTo>
                      <a:pt x="41" y="75"/>
                      <a:pt x="41" y="75"/>
                      <a:pt x="41" y="75"/>
                    </a:cubicBezTo>
                    <a:cubicBezTo>
                      <a:pt x="37" y="77"/>
                      <a:pt x="34" y="78"/>
                      <a:pt x="31" y="78"/>
                    </a:cubicBezTo>
                    <a:cubicBezTo>
                      <a:pt x="25" y="78"/>
                      <a:pt x="20" y="75"/>
                      <a:pt x="19" y="6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0" y="14"/>
                      <a:pt x="2" y="7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53A699D-3375-4429-9920-CE227947B553}"/>
                </a:ext>
              </a:extLst>
            </p:cNvPr>
            <p:cNvSpPr/>
            <p:nvPr/>
          </p:nvSpPr>
          <p:spPr bwMode="auto">
            <a:xfrm>
              <a:off x="1332599" y="3355418"/>
              <a:ext cx="1538916" cy="77633"/>
            </a:xfrm>
            <a:custGeom>
              <a:avLst/>
              <a:gdLst>
                <a:gd name="T0" fmla="*/ 162 w 162"/>
                <a:gd name="T1" fmla="*/ 5 h 8"/>
                <a:gd name="T2" fmla="*/ 162 w 162"/>
                <a:gd name="T3" fmla="*/ 0 h 8"/>
                <a:gd name="T4" fmla="*/ 3 w 162"/>
                <a:gd name="T5" fmla="*/ 0 h 8"/>
                <a:gd name="T6" fmla="*/ 0 w 162"/>
                <a:gd name="T7" fmla="*/ 5 h 8"/>
                <a:gd name="T8" fmla="*/ 3 w 162"/>
                <a:gd name="T9" fmla="*/ 8 h 8"/>
                <a:gd name="T10" fmla="*/ 86 w 162"/>
                <a:gd name="T11" fmla="*/ 8 h 8"/>
                <a:gd name="T12" fmla="*/ 87 w 162"/>
                <a:gd name="T13" fmla="*/ 8 h 8"/>
                <a:gd name="T14" fmla="*/ 104 w 162"/>
                <a:gd name="T15" fmla="*/ 5 h 8"/>
                <a:gd name="T16" fmla="*/ 110 w 162"/>
                <a:gd name="T17" fmla="*/ 8 h 8"/>
                <a:gd name="T18" fmla="*/ 110 w 162"/>
                <a:gd name="T19" fmla="*/ 8 h 8"/>
                <a:gd name="T20" fmla="*/ 162 w 162"/>
                <a:gd name="T21" fmla="*/ 8 h 8"/>
                <a:gd name="T22" fmla="*/ 162 w 162"/>
                <a:gd name="T2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8">
                  <a:moveTo>
                    <a:pt x="162" y="5"/>
                  </a:moveTo>
                  <a:cubicBezTo>
                    <a:pt x="162" y="3"/>
                    <a:pt x="162" y="3"/>
                    <a:pt x="16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6"/>
                    <a:pt x="2" y="8"/>
                    <a:pt x="3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91" y="5"/>
                    <a:pt x="98" y="3"/>
                    <a:pt x="104" y="5"/>
                  </a:cubicBezTo>
                  <a:cubicBezTo>
                    <a:pt x="106" y="6"/>
                    <a:pt x="108" y="7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7"/>
                    <a:pt x="162" y="6"/>
                    <a:pt x="162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E068CF3E-2BFF-4A8E-ACE6-430B6EF232BE}"/>
                </a:ext>
              </a:extLst>
            </p:cNvPr>
            <p:cNvSpPr/>
            <p:nvPr/>
          </p:nvSpPr>
          <p:spPr bwMode="auto">
            <a:xfrm>
              <a:off x="9323994" y="3355418"/>
              <a:ext cx="1598279" cy="77633"/>
            </a:xfrm>
            <a:custGeom>
              <a:avLst/>
              <a:gdLst>
                <a:gd name="T0" fmla="*/ 164 w 168"/>
                <a:gd name="T1" fmla="*/ 0 h 8"/>
                <a:gd name="T2" fmla="*/ 166 w 168"/>
                <a:gd name="T3" fmla="*/ 0 h 8"/>
                <a:gd name="T4" fmla="*/ 166 w 168"/>
                <a:gd name="T5" fmla="*/ 0 h 8"/>
                <a:gd name="T6" fmla="*/ 164 w 168"/>
                <a:gd name="T7" fmla="*/ 0 h 8"/>
                <a:gd name="T8" fmla="*/ 6 w 168"/>
                <a:gd name="T9" fmla="*/ 0 h 8"/>
                <a:gd name="T10" fmla="*/ 0 w 168"/>
                <a:gd name="T11" fmla="*/ 0 h 8"/>
                <a:gd name="T12" fmla="*/ 0 w 168"/>
                <a:gd name="T13" fmla="*/ 5 h 8"/>
                <a:gd name="T14" fmla="*/ 0 w 168"/>
                <a:gd name="T15" fmla="*/ 8 h 8"/>
                <a:gd name="T16" fmla="*/ 6 w 168"/>
                <a:gd name="T17" fmla="*/ 8 h 8"/>
                <a:gd name="T18" fmla="*/ 8 w 168"/>
                <a:gd name="T19" fmla="*/ 8 h 8"/>
                <a:gd name="T20" fmla="*/ 58 w 168"/>
                <a:gd name="T21" fmla="*/ 8 h 8"/>
                <a:gd name="T22" fmla="*/ 58 w 168"/>
                <a:gd name="T23" fmla="*/ 8 h 8"/>
                <a:gd name="T24" fmla="*/ 64 w 168"/>
                <a:gd name="T25" fmla="*/ 5 h 8"/>
                <a:gd name="T26" fmla="*/ 81 w 168"/>
                <a:gd name="T27" fmla="*/ 8 h 8"/>
                <a:gd name="T28" fmla="*/ 82 w 168"/>
                <a:gd name="T29" fmla="*/ 8 h 8"/>
                <a:gd name="T30" fmla="*/ 164 w 168"/>
                <a:gd name="T31" fmla="*/ 8 h 8"/>
                <a:gd name="T32" fmla="*/ 168 w 168"/>
                <a:gd name="T33" fmla="*/ 5 h 8"/>
                <a:gd name="T34" fmla="*/ 164 w 168"/>
                <a:gd name="T3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8" h="8">
                  <a:moveTo>
                    <a:pt x="16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61" y="7"/>
                    <a:pt x="62" y="6"/>
                    <a:pt x="64" y="5"/>
                  </a:cubicBezTo>
                  <a:cubicBezTo>
                    <a:pt x="70" y="3"/>
                    <a:pt x="76" y="5"/>
                    <a:pt x="81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164" y="8"/>
                    <a:pt x="164" y="8"/>
                    <a:pt x="164" y="8"/>
                  </a:cubicBezTo>
                  <a:cubicBezTo>
                    <a:pt x="166" y="8"/>
                    <a:pt x="168" y="6"/>
                    <a:pt x="168" y="5"/>
                  </a:cubicBezTo>
                  <a:cubicBezTo>
                    <a:pt x="168" y="3"/>
                    <a:pt x="166" y="0"/>
                    <a:pt x="164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71AE66C9-1CD0-472A-90AD-9EFB5C547649}"/>
                </a:ext>
              </a:extLst>
            </p:cNvPr>
            <p:cNvGrpSpPr/>
            <p:nvPr/>
          </p:nvGrpSpPr>
          <p:grpSpPr>
            <a:xfrm>
              <a:off x="1994796" y="1341500"/>
              <a:ext cx="2140566" cy="2297041"/>
              <a:chOff x="1994796" y="1341500"/>
              <a:chExt cx="2140566" cy="2297041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id="{BBF1A8B2-FC98-4145-9635-B626E4767494}"/>
                  </a:ext>
                </a:extLst>
              </p:cNvPr>
              <p:cNvCxnSpPr>
                <a:cxnSpLocks/>
                <a:stCxn id="53" idx="0"/>
                <a:endCxn id="55" idx="2"/>
              </p:cNvCxnSpPr>
              <p:nvPr/>
            </p:nvCxnSpPr>
            <p:spPr>
              <a:xfrm flipV="1">
                <a:off x="3065079" y="2331720"/>
                <a:ext cx="0" cy="828969"/>
              </a:xfrm>
              <a:prstGeom prst="line">
                <a:avLst/>
              </a:prstGeom>
              <a:ln w="3175" cap="rnd">
                <a:solidFill>
                  <a:schemeClr val="bg1">
                    <a:lumMod val="85000"/>
                  </a:schemeClr>
                </a:solidFill>
                <a:round/>
                <a:headEnd type="oval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1" name="组合 50">
                <a:extLst>
                  <a:ext uri="{FF2B5EF4-FFF2-40B4-BE49-F238E27FC236}">
                    <a16:creationId xmlns:a16="http://schemas.microsoft.com/office/drawing/2014/main" id="{C6334326-6635-4A1A-8DA4-4AB9BDF1C518}"/>
                  </a:ext>
                </a:extLst>
              </p:cNvPr>
              <p:cNvGrpSpPr/>
              <p:nvPr/>
            </p:nvGrpSpPr>
            <p:grpSpPr>
              <a:xfrm>
                <a:off x="1994796" y="1341500"/>
                <a:ext cx="2140566" cy="990220"/>
                <a:chOff x="1994796" y="1341500"/>
                <a:chExt cx="2140566" cy="990220"/>
              </a:xfrm>
            </p:grpSpPr>
            <p:sp>
              <p:nvSpPr>
                <p:cNvPr id="55" name="矩形 54">
                  <a:extLst>
                    <a:ext uri="{FF2B5EF4-FFF2-40B4-BE49-F238E27FC236}">
                      <a16:creationId xmlns:a16="http://schemas.microsoft.com/office/drawing/2014/main" id="{6972B1DC-B66B-4218-A45B-DE6E59FE9838}"/>
                    </a:ext>
                  </a:extLst>
                </p:cNvPr>
                <p:cNvSpPr/>
                <p:nvPr/>
              </p:nvSpPr>
              <p:spPr bwMode="auto">
                <a:xfrm>
                  <a:off x="1994796" y="1692639"/>
                  <a:ext cx="2140566" cy="6390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rIns="90000" anchor="t" anchorCtr="0">
                  <a:norm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 </a:t>
                  </a:r>
                </a:p>
              </p:txBody>
            </p:sp>
            <p:sp>
              <p:nvSpPr>
                <p:cNvPr id="56" name="文本框 55">
                  <a:extLst>
                    <a:ext uri="{FF2B5EF4-FFF2-40B4-BE49-F238E27FC236}">
                      <a16:creationId xmlns:a16="http://schemas.microsoft.com/office/drawing/2014/main" id="{BB62791E-7291-44A8-88F3-9C2EC82894C8}"/>
                    </a:ext>
                  </a:extLst>
                </p:cNvPr>
                <p:cNvSpPr txBox="1"/>
                <p:nvPr/>
              </p:nvSpPr>
              <p:spPr bwMode="auto">
                <a:xfrm>
                  <a:off x="1994796" y="1341500"/>
                  <a:ext cx="2140566" cy="3511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rIns="90000">
                  <a:normAutofit lnSpcReduction="10000"/>
                </a:bodyPr>
                <a:lstStyle/>
                <a:p>
                  <a:pPr algn="ctr"/>
                  <a:r>
                    <a:rPr lang="zh-CN" altLang="en-US" b="1" dirty="0">
                      <a:cs typeface="+mn-ea"/>
                      <a:sym typeface="+mn-lt"/>
                    </a:rPr>
                    <a:t>保持清洁</a:t>
                  </a:r>
                </a:p>
              </p:txBody>
            </p:sp>
          </p:grpSp>
          <p:grpSp>
            <p:nvGrpSpPr>
              <p:cNvPr id="52" name="组合 51">
                <a:extLst>
                  <a:ext uri="{FF2B5EF4-FFF2-40B4-BE49-F238E27FC236}">
                    <a16:creationId xmlns:a16="http://schemas.microsoft.com/office/drawing/2014/main" id="{5680655C-0E83-4EA7-A424-C57AF8FB2E69}"/>
                  </a:ext>
                </a:extLst>
              </p:cNvPr>
              <p:cNvGrpSpPr/>
              <p:nvPr/>
            </p:nvGrpSpPr>
            <p:grpSpPr>
              <a:xfrm>
                <a:off x="2826153" y="3160689"/>
                <a:ext cx="477852" cy="477852"/>
                <a:chOff x="8869623" y="2257176"/>
                <a:chExt cx="634692" cy="634692"/>
              </a:xfrm>
            </p:grpSpPr>
            <p:sp>
              <p:nvSpPr>
                <p:cNvPr id="53" name="椭圆 52">
                  <a:extLst>
                    <a:ext uri="{FF2B5EF4-FFF2-40B4-BE49-F238E27FC236}">
                      <a16:creationId xmlns:a16="http://schemas.microsoft.com/office/drawing/2014/main" id="{C85A2E69-AA6D-4715-882F-DD562AA8FB70}"/>
                    </a:ext>
                  </a:extLst>
                </p:cNvPr>
                <p:cNvSpPr/>
                <p:nvPr/>
              </p:nvSpPr>
              <p:spPr>
                <a:xfrm>
                  <a:off x="8869623" y="2257176"/>
                  <a:ext cx="634692" cy="634692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chemeClr val="accent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132A4515-A47A-490D-97BB-4A5AC7C098F9}"/>
                    </a:ext>
                  </a:extLst>
                </p:cNvPr>
                <p:cNvSpPr/>
                <p:nvPr/>
              </p:nvSpPr>
              <p:spPr bwMode="auto">
                <a:xfrm>
                  <a:off x="9085590" y="2371861"/>
                  <a:ext cx="202756" cy="393188"/>
                </a:xfrm>
                <a:custGeom>
                  <a:avLst/>
                  <a:gdLst>
                    <a:gd name="connsiteX0" fmla="*/ 159127 w 313668"/>
                    <a:gd name="connsiteY0" fmla="*/ 411396 h 608274"/>
                    <a:gd name="connsiteX1" fmla="*/ 159127 w 313668"/>
                    <a:gd name="connsiteY1" fmla="*/ 577440 h 608274"/>
                    <a:gd name="connsiteX2" fmla="*/ 128336 w 313668"/>
                    <a:gd name="connsiteY2" fmla="*/ 608274 h 608274"/>
                    <a:gd name="connsiteX3" fmla="*/ 97453 w 313668"/>
                    <a:gd name="connsiteY3" fmla="*/ 577440 h 608274"/>
                    <a:gd name="connsiteX4" fmla="*/ 97453 w 313668"/>
                    <a:gd name="connsiteY4" fmla="*/ 458706 h 608274"/>
                    <a:gd name="connsiteX5" fmla="*/ 128221 w 313668"/>
                    <a:gd name="connsiteY5" fmla="*/ 306395 h 608274"/>
                    <a:gd name="connsiteX6" fmla="*/ 168122 w 313668"/>
                    <a:gd name="connsiteY6" fmla="*/ 358410 h 608274"/>
                    <a:gd name="connsiteX7" fmla="*/ 171347 w 313668"/>
                    <a:gd name="connsiteY7" fmla="*/ 370377 h 608274"/>
                    <a:gd name="connsiteX8" fmla="*/ 165173 w 313668"/>
                    <a:gd name="connsiteY8" fmla="*/ 381149 h 608274"/>
                    <a:gd name="connsiteX9" fmla="*/ 71917 w 313668"/>
                    <a:gd name="connsiteY9" fmla="*/ 452588 h 608274"/>
                    <a:gd name="connsiteX10" fmla="*/ 62057 w 313668"/>
                    <a:gd name="connsiteY10" fmla="*/ 455994 h 608274"/>
                    <a:gd name="connsiteX11" fmla="*/ 49156 w 313668"/>
                    <a:gd name="connsiteY11" fmla="*/ 449642 h 608274"/>
                    <a:gd name="connsiteX12" fmla="*/ 3357 w 313668"/>
                    <a:gd name="connsiteY12" fmla="*/ 390079 h 608274"/>
                    <a:gd name="connsiteX13" fmla="*/ 132 w 313668"/>
                    <a:gd name="connsiteY13" fmla="*/ 378019 h 608274"/>
                    <a:gd name="connsiteX14" fmla="*/ 6398 w 313668"/>
                    <a:gd name="connsiteY14" fmla="*/ 367339 h 608274"/>
                    <a:gd name="connsiteX15" fmla="*/ 9162 w 313668"/>
                    <a:gd name="connsiteY15" fmla="*/ 365130 h 608274"/>
                    <a:gd name="connsiteX16" fmla="*/ 43904 w 313668"/>
                    <a:gd name="connsiteY16" fmla="*/ 407754 h 608274"/>
                    <a:gd name="connsiteX17" fmla="*/ 59661 w 313668"/>
                    <a:gd name="connsiteY17" fmla="*/ 410240 h 608274"/>
                    <a:gd name="connsiteX18" fmla="*/ 107948 w 313668"/>
                    <a:gd name="connsiteY18" fmla="*/ 375165 h 608274"/>
                    <a:gd name="connsiteX19" fmla="*/ 126009 w 313668"/>
                    <a:gd name="connsiteY19" fmla="*/ 319836 h 608274"/>
                    <a:gd name="connsiteX20" fmla="*/ 128221 w 313668"/>
                    <a:gd name="connsiteY20" fmla="*/ 306395 h 608274"/>
                    <a:gd name="connsiteX21" fmla="*/ 163534 w 313668"/>
                    <a:gd name="connsiteY21" fmla="*/ 163741 h 608274"/>
                    <a:gd name="connsiteX22" fmla="*/ 160861 w 313668"/>
                    <a:gd name="connsiteY22" fmla="*/ 166411 h 608274"/>
                    <a:gd name="connsiteX23" fmla="*/ 160861 w 313668"/>
                    <a:gd name="connsiteY23" fmla="*/ 185098 h 608274"/>
                    <a:gd name="connsiteX24" fmla="*/ 163534 w 313668"/>
                    <a:gd name="connsiteY24" fmla="*/ 187767 h 608274"/>
                    <a:gd name="connsiteX25" fmla="*/ 179484 w 313668"/>
                    <a:gd name="connsiteY25" fmla="*/ 187767 h 608274"/>
                    <a:gd name="connsiteX26" fmla="*/ 182157 w 313668"/>
                    <a:gd name="connsiteY26" fmla="*/ 185098 h 608274"/>
                    <a:gd name="connsiteX27" fmla="*/ 182157 w 313668"/>
                    <a:gd name="connsiteY27" fmla="*/ 166411 h 608274"/>
                    <a:gd name="connsiteX28" fmla="*/ 179484 w 313668"/>
                    <a:gd name="connsiteY28" fmla="*/ 163741 h 608274"/>
                    <a:gd name="connsiteX29" fmla="*/ 131358 w 313668"/>
                    <a:gd name="connsiteY29" fmla="*/ 155456 h 608274"/>
                    <a:gd name="connsiteX30" fmla="*/ 211383 w 313668"/>
                    <a:gd name="connsiteY30" fmla="*/ 155456 h 608274"/>
                    <a:gd name="connsiteX31" fmla="*/ 260338 w 313668"/>
                    <a:gd name="connsiteY31" fmla="*/ 190989 h 608274"/>
                    <a:gd name="connsiteX32" fmla="*/ 312151 w 313668"/>
                    <a:gd name="connsiteY32" fmla="*/ 350060 h 608274"/>
                    <a:gd name="connsiteX33" fmla="*/ 292606 w 313668"/>
                    <a:gd name="connsiteY33" fmla="*/ 388447 h 608274"/>
                    <a:gd name="connsiteX34" fmla="*/ 283110 w 313668"/>
                    <a:gd name="connsiteY34" fmla="*/ 389920 h 608274"/>
                    <a:gd name="connsiteX35" fmla="*/ 254069 w 313668"/>
                    <a:gd name="connsiteY35" fmla="*/ 368931 h 608274"/>
                    <a:gd name="connsiteX36" fmla="*/ 245310 w 313668"/>
                    <a:gd name="connsiteY36" fmla="*/ 341867 h 608274"/>
                    <a:gd name="connsiteX37" fmla="*/ 245310 w 313668"/>
                    <a:gd name="connsiteY37" fmla="*/ 383108 h 608274"/>
                    <a:gd name="connsiteX38" fmla="*/ 245310 w 313668"/>
                    <a:gd name="connsiteY38" fmla="*/ 577436 h 608274"/>
                    <a:gd name="connsiteX39" fmla="*/ 214425 w 313668"/>
                    <a:gd name="connsiteY39" fmla="*/ 608274 h 608274"/>
                    <a:gd name="connsiteX40" fmla="*/ 183540 w 313668"/>
                    <a:gd name="connsiteY40" fmla="*/ 577436 h 608274"/>
                    <a:gd name="connsiteX41" fmla="*/ 183540 w 313668"/>
                    <a:gd name="connsiteY41" fmla="*/ 391301 h 608274"/>
                    <a:gd name="connsiteX42" fmla="*/ 191561 w 313668"/>
                    <a:gd name="connsiteY42" fmla="*/ 373074 h 608274"/>
                    <a:gd name="connsiteX43" fmla="*/ 184278 w 313668"/>
                    <a:gd name="connsiteY43" fmla="*/ 346102 h 608274"/>
                    <a:gd name="connsiteX44" fmla="*/ 181789 w 313668"/>
                    <a:gd name="connsiteY44" fmla="*/ 342788 h 608274"/>
                    <a:gd name="connsiteX45" fmla="*/ 197646 w 313668"/>
                    <a:gd name="connsiteY45" fmla="*/ 323825 h 608274"/>
                    <a:gd name="connsiteX46" fmla="*/ 201242 w 313668"/>
                    <a:gd name="connsiteY46" fmla="*/ 310661 h 608274"/>
                    <a:gd name="connsiteX47" fmla="*/ 185015 w 313668"/>
                    <a:gd name="connsiteY47" fmla="*/ 216396 h 608274"/>
                    <a:gd name="connsiteX48" fmla="*/ 182526 w 313668"/>
                    <a:gd name="connsiteY48" fmla="*/ 201760 h 608274"/>
                    <a:gd name="connsiteX49" fmla="*/ 179853 w 313668"/>
                    <a:gd name="connsiteY49" fmla="*/ 199550 h 608274"/>
                    <a:gd name="connsiteX50" fmla="*/ 162797 w 313668"/>
                    <a:gd name="connsiteY50" fmla="*/ 199550 h 608274"/>
                    <a:gd name="connsiteX51" fmla="*/ 160123 w 313668"/>
                    <a:gd name="connsiteY51" fmla="*/ 201760 h 608274"/>
                    <a:gd name="connsiteX52" fmla="*/ 157634 w 313668"/>
                    <a:gd name="connsiteY52" fmla="*/ 216396 h 608274"/>
                    <a:gd name="connsiteX53" fmla="*/ 144266 w 313668"/>
                    <a:gd name="connsiteY53" fmla="*/ 293999 h 608274"/>
                    <a:gd name="connsiteX54" fmla="*/ 138550 w 313668"/>
                    <a:gd name="connsiteY54" fmla="*/ 286450 h 608274"/>
                    <a:gd name="connsiteX55" fmla="*/ 119650 w 313668"/>
                    <a:gd name="connsiteY55" fmla="*/ 273747 h 608274"/>
                    <a:gd name="connsiteX56" fmla="*/ 119189 w 313668"/>
                    <a:gd name="connsiteY56" fmla="*/ 275127 h 608274"/>
                    <a:gd name="connsiteX57" fmla="*/ 88580 w 313668"/>
                    <a:gd name="connsiteY57" fmla="*/ 368931 h 608274"/>
                    <a:gd name="connsiteX58" fmla="*/ 50135 w 313668"/>
                    <a:gd name="connsiteY58" fmla="*/ 388447 h 608274"/>
                    <a:gd name="connsiteX59" fmla="*/ 30590 w 313668"/>
                    <a:gd name="connsiteY59" fmla="*/ 350060 h 608274"/>
                    <a:gd name="connsiteX60" fmla="*/ 61107 w 313668"/>
                    <a:gd name="connsiteY60" fmla="*/ 256256 h 608274"/>
                    <a:gd name="connsiteX61" fmla="*/ 82403 w 313668"/>
                    <a:gd name="connsiteY61" fmla="*/ 190989 h 608274"/>
                    <a:gd name="connsiteX62" fmla="*/ 131358 w 313668"/>
                    <a:gd name="connsiteY62" fmla="*/ 155456 h 608274"/>
                    <a:gd name="connsiteX63" fmla="*/ 171336 w 313668"/>
                    <a:gd name="connsiteY63" fmla="*/ 0 h 608274"/>
                    <a:gd name="connsiteX64" fmla="*/ 238585 w 313668"/>
                    <a:gd name="connsiteY64" fmla="*/ 67108 h 608274"/>
                    <a:gd name="connsiteX65" fmla="*/ 171336 w 313668"/>
                    <a:gd name="connsiteY65" fmla="*/ 134216 h 608274"/>
                    <a:gd name="connsiteX66" fmla="*/ 104087 w 313668"/>
                    <a:gd name="connsiteY66" fmla="*/ 67108 h 608274"/>
                    <a:gd name="connsiteX67" fmla="*/ 171336 w 313668"/>
                    <a:gd name="connsiteY67" fmla="*/ 0 h 608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313668" h="608274">
                      <a:moveTo>
                        <a:pt x="159127" y="411396"/>
                      </a:moveTo>
                      <a:lnTo>
                        <a:pt x="159127" y="577440"/>
                      </a:lnTo>
                      <a:cubicBezTo>
                        <a:pt x="159127" y="594468"/>
                        <a:pt x="145391" y="608274"/>
                        <a:pt x="128336" y="608274"/>
                      </a:cubicBezTo>
                      <a:cubicBezTo>
                        <a:pt x="111282" y="608274"/>
                        <a:pt x="97453" y="594468"/>
                        <a:pt x="97453" y="577440"/>
                      </a:cubicBezTo>
                      <a:lnTo>
                        <a:pt x="97453" y="458706"/>
                      </a:lnTo>
                      <a:close/>
                      <a:moveTo>
                        <a:pt x="128221" y="306395"/>
                      </a:moveTo>
                      <a:lnTo>
                        <a:pt x="168122" y="358410"/>
                      </a:lnTo>
                      <a:cubicBezTo>
                        <a:pt x="170794" y="361816"/>
                        <a:pt x="171900" y="366143"/>
                        <a:pt x="171347" y="370377"/>
                      </a:cubicBezTo>
                      <a:cubicBezTo>
                        <a:pt x="170794" y="374612"/>
                        <a:pt x="168583" y="378479"/>
                        <a:pt x="165173" y="381149"/>
                      </a:cubicBezTo>
                      <a:lnTo>
                        <a:pt x="71917" y="452588"/>
                      </a:lnTo>
                      <a:cubicBezTo>
                        <a:pt x="68968" y="454889"/>
                        <a:pt x="65467" y="455994"/>
                        <a:pt x="62057" y="455994"/>
                      </a:cubicBezTo>
                      <a:cubicBezTo>
                        <a:pt x="57173" y="455994"/>
                        <a:pt x="52289" y="453785"/>
                        <a:pt x="49156" y="449642"/>
                      </a:cubicBezTo>
                      <a:lnTo>
                        <a:pt x="3357" y="390079"/>
                      </a:lnTo>
                      <a:cubicBezTo>
                        <a:pt x="777" y="386672"/>
                        <a:pt x="-421" y="382345"/>
                        <a:pt x="132" y="378019"/>
                      </a:cubicBezTo>
                      <a:cubicBezTo>
                        <a:pt x="685" y="373784"/>
                        <a:pt x="2988" y="369917"/>
                        <a:pt x="6398" y="367339"/>
                      </a:cubicBezTo>
                      <a:lnTo>
                        <a:pt x="9162" y="365130"/>
                      </a:lnTo>
                      <a:cubicBezTo>
                        <a:pt x="11374" y="384279"/>
                        <a:pt x="24367" y="401402"/>
                        <a:pt x="43904" y="407754"/>
                      </a:cubicBezTo>
                      <a:cubicBezTo>
                        <a:pt x="49064" y="409411"/>
                        <a:pt x="54409" y="410240"/>
                        <a:pt x="59661" y="410240"/>
                      </a:cubicBezTo>
                      <a:cubicBezTo>
                        <a:pt x="81040" y="410240"/>
                        <a:pt x="100945" y="396615"/>
                        <a:pt x="107948" y="375165"/>
                      </a:cubicBezTo>
                      <a:lnTo>
                        <a:pt x="126009" y="319836"/>
                      </a:lnTo>
                      <a:cubicBezTo>
                        <a:pt x="127484" y="315325"/>
                        <a:pt x="128037" y="310906"/>
                        <a:pt x="128221" y="306395"/>
                      </a:cubicBezTo>
                      <a:close/>
                      <a:moveTo>
                        <a:pt x="163534" y="163741"/>
                      </a:moveTo>
                      <a:cubicBezTo>
                        <a:pt x="162059" y="163741"/>
                        <a:pt x="160861" y="164938"/>
                        <a:pt x="160861" y="166411"/>
                      </a:cubicBezTo>
                      <a:lnTo>
                        <a:pt x="160861" y="185098"/>
                      </a:lnTo>
                      <a:cubicBezTo>
                        <a:pt x="160861" y="186571"/>
                        <a:pt x="162059" y="187767"/>
                        <a:pt x="163534" y="187767"/>
                      </a:cubicBezTo>
                      <a:lnTo>
                        <a:pt x="179484" y="187767"/>
                      </a:lnTo>
                      <a:cubicBezTo>
                        <a:pt x="180959" y="187767"/>
                        <a:pt x="182157" y="186571"/>
                        <a:pt x="182157" y="185098"/>
                      </a:cubicBezTo>
                      <a:lnTo>
                        <a:pt x="182157" y="166411"/>
                      </a:lnTo>
                      <a:cubicBezTo>
                        <a:pt x="182157" y="164938"/>
                        <a:pt x="180959" y="163741"/>
                        <a:pt x="179484" y="163741"/>
                      </a:cubicBezTo>
                      <a:close/>
                      <a:moveTo>
                        <a:pt x="131358" y="155456"/>
                      </a:moveTo>
                      <a:lnTo>
                        <a:pt x="211383" y="155456"/>
                      </a:lnTo>
                      <a:cubicBezTo>
                        <a:pt x="233694" y="155456"/>
                        <a:pt x="253424" y="169725"/>
                        <a:pt x="260338" y="190989"/>
                      </a:cubicBezTo>
                      <a:lnTo>
                        <a:pt x="312151" y="350060"/>
                      </a:lnTo>
                      <a:cubicBezTo>
                        <a:pt x="317406" y="366078"/>
                        <a:pt x="308556" y="383292"/>
                        <a:pt x="292606" y="388447"/>
                      </a:cubicBezTo>
                      <a:cubicBezTo>
                        <a:pt x="289471" y="389460"/>
                        <a:pt x="286245" y="389920"/>
                        <a:pt x="283110" y="389920"/>
                      </a:cubicBezTo>
                      <a:cubicBezTo>
                        <a:pt x="270295" y="389920"/>
                        <a:pt x="258310" y="381819"/>
                        <a:pt x="254069" y="368931"/>
                      </a:cubicBezTo>
                      <a:lnTo>
                        <a:pt x="245310" y="341867"/>
                      </a:lnTo>
                      <a:lnTo>
                        <a:pt x="245310" y="383108"/>
                      </a:lnTo>
                      <a:lnTo>
                        <a:pt x="245310" y="577436"/>
                      </a:lnTo>
                      <a:cubicBezTo>
                        <a:pt x="245310" y="594466"/>
                        <a:pt x="231481" y="608274"/>
                        <a:pt x="214425" y="608274"/>
                      </a:cubicBezTo>
                      <a:cubicBezTo>
                        <a:pt x="197369" y="608274"/>
                        <a:pt x="183540" y="594466"/>
                        <a:pt x="183540" y="577436"/>
                      </a:cubicBezTo>
                      <a:lnTo>
                        <a:pt x="183540" y="391301"/>
                      </a:lnTo>
                      <a:cubicBezTo>
                        <a:pt x="187873" y="386146"/>
                        <a:pt x="190639" y="379886"/>
                        <a:pt x="191561" y="373074"/>
                      </a:cubicBezTo>
                      <a:cubicBezTo>
                        <a:pt x="192852" y="363316"/>
                        <a:pt x="190271" y="353742"/>
                        <a:pt x="184278" y="346102"/>
                      </a:cubicBezTo>
                      <a:lnTo>
                        <a:pt x="181789" y="342788"/>
                      </a:lnTo>
                      <a:lnTo>
                        <a:pt x="197646" y="323825"/>
                      </a:lnTo>
                      <a:cubicBezTo>
                        <a:pt x="200688" y="320142"/>
                        <a:pt x="201979" y="315355"/>
                        <a:pt x="201242" y="310661"/>
                      </a:cubicBezTo>
                      <a:lnTo>
                        <a:pt x="185015" y="216396"/>
                      </a:lnTo>
                      <a:lnTo>
                        <a:pt x="182526" y="201760"/>
                      </a:lnTo>
                      <a:cubicBezTo>
                        <a:pt x="182250" y="200471"/>
                        <a:pt x="181143" y="199550"/>
                        <a:pt x="179853" y="199550"/>
                      </a:cubicBezTo>
                      <a:lnTo>
                        <a:pt x="162797" y="199550"/>
                      </a:lnTo>
                      <a:cubicBezTo>
                        <a:pt x="161506" y="199550"/>
                        <a:pt x="160400" y="200471"/>
                        <a:pt x="160123" y="201760"/>
                      </a:cubicBezTo>
                      <a:lnTo>
                        <a:pt x="157634" y="216396"/>
                      </a:lnTo>
                      <a:lnTo>
                        <a:pt x="144266" y="293999"/>
                      </a:lnTo>
                      <a:lnTo>
                        <a:pt x="138550" y="286450"/>
                      </a:lnTo>
                      <a:cubicBezTo>
                        <a:pt x="133663" y="280191"/>
                        <a:pt x="127025" y="275864"/>
                        <a:pt x="119650" y="273747"/>
                      </a:cubicBezTo>
                      <a:lnTo>
                        <a:pt x="119189" y="275127"/>
                      </a:lnTo>
                      <a:lnTo>
                        <a:pt x="88580" y="368931"/>
                      </a:lnTo>
                      <a:cubicBezTo>
                        <a:pt x="83418" y="384949"/>
                        <a:pt x="66177" y="393694"/>
                        <a:pt x="50135" y="388447"/>
                      </a:cubicBezTo>
                      <a:cubicBezTo>
                        <a:pt x="34094" y="383200"/>
                        <a:pt x="25335" y="366078"/>
                        <a:pt x="30590" y="350060"/>
                      </a:cubicBezTo>
                      <a:lnTo>
                        <a:pt x="61107" y="256256"/>
                      </a:lnTo>
                      <a:lnTo>
                        <a:pt x="82403" y="190989"/>
                      </a:lnTo>
                      <a:cubicBezTo>
                        <a:pt x="89318" y="169725"/>
                        <a:pt x="108955" y="155456"/>
                        <a:pt x="131358" y="155456"/>
                      </a:cubicBezTo>
                      <a:close/>
                      <a:moveTo>
                        <a:pt x="171336" y="0"/>
                      </a:moveTo>
                      <a:cubicBezTo>
                        <a:pt x="208477" y="0"/>
                        <a:pt x="238585" y="30045"/>
                        <a:pt x="238585" y="67108"/>
                      </a:cubicBezTo>
                      <a:cubicBezTo>
                        <a:pt x="238585" y="104171"/>
                        <a:pt x="208477" y="134216"/>
                        <a:pt x="171336" y="134216"/>
                      </a:cubicBezTo>
                      <a:cubicBezTo>
                        <a:pt x="134195" y="134216"/>
                        <a:pt x="104087" y="104171"/>
                        <a:pt x="104087" y="67108"/>
                      </a:cubicBezTo>
                      <a:cubicBezTo>
                        <a:pt x="104087" y="30045"/>
                        <a:pt x="134195" y="0"/>
                        <a:pt x="17133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05DC21B6-4C5E-4C0B-BB8F-2596294478F9}"/>
                </a:ext>
              </a:extLst>
            </p:cNvPr>
            <p:cNvGrpSpPr/>
            <p:nvPr/>
          </p:nvGrpSpPr>
          <p:grpSpPr>
            <a:xfrm>
              <a:off x="3484620" y="3160689"/>
              <a:ext cx="2140566" cy="2130317"/>
              <a:chOff x="3200001" y="3160689"/>
              <a:chExt cx="2140566" cy="2130317"/>
            </a:xfrm>
          </p:grpSpPr>
          <p:grpSp>
            <p:nvGrpSpPr>
              <p:cNvPr id="42" name="组合 41">
                <a:extLst>
                  <a:ext uri="{FF2B5EF4-FFF2-40B4-BE49-F238E27FC236}">
                    <a16:creationId xmlns:a16="http://schemas.microsoft.com/office/drawing/2014/main" id="{3A45C480-86CA-4D54-9468-AC74E173EF15}"/>
                  </a:ext>
                </a:extLst>
              </p:cNvPr>
              <p:cNvGrpSpPr/>
              <p:nvPr/>
            </p:nvGrpSpPr>
            <p:grpSpPr>
              <a:xfrm>
                <a:off x="3200001" y="4300786"/>
                <a:ext cx="2140566" cy="990220"/>
                <a:chOff x="3200001" y="4300786"/>
                <a:chExt cx="2140566" cy="990220"/>
              </a:xfrm>
            </p:grpSpPr>
            <p:sp>
              <p:nvSpPr>
                <p:cNvPr id="48" name="矩形 47">
                  <a:extLst>
                    <a:ext uri="{FF2B5EF4-FFF2-40B4-BE49-F238E27FC236}">
                      <a16:creationId xmlns:a16="http://schemas.microsoft.com/office/drawing/2014/main" id="{7CEA84A9-7E06-4874-B326-6F9086675602}"/>
                    </a:ext>
                  </a:extLst>
                </p:cNvPr>
                <p:cNvSpPr/>
                <p:nvPr/>
              </p:nvSpPr>
              <p:spPr bwMode="auto">
                <a:xfrm>
                  <a:off x="3200001" y="4651925"/>
                  <a:ext cx="2140566" cy="6390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rIns="90000" anchor="t" anchorCtr="0">
                  <a:norm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he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 </a:t>
                  </a:r>
                </a:p>
              </p:txBody>
            </p:sp>
            <p:sp>
              <p:nvSpPr>
                <p:cNvPr id="49" name="文本框 48">
                  <a:extLst>
                    <a:ext uri="{FF2B5EF4-FFF2-40B4-BE49-F238E27FC236}">
                      <a16:creationId xmlns:a16="http://schemas.microsoft.com/office/drawing/2014/main" id="{EC72756B-9592-49E5-B0E6-36966F44F425}"/>
                    </a:ext>
                  </a:extLst>
                </p:cNvPr>
                <p:cNvSpPr txBox="1"/>
                <p:nvPr/>
              </p:nvSpPr>
              <p:spPr bwMode="auto">
                <a:xfrm>
                  <a:off x="3200001" y="4300786"/>
                  <a:ext cx="2140566" cy="3511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rIns="90000">
                  <a:normAutofit lnSpcReduction="10000"/>
                </a:bodyPr>
                <a:lstStyle/>
                <a:p>
                  <a:pPr algn="ctr"/>
                  <a:r>
                    <a:rPr lang="zh-CN" altLang="en-US" b="1" dirty="0">
                      <a:cs typeface="+mn-ea"/>
                      <a:sym typeface="+mn-lt"/>
                    </a:rPr>
                    <a:t>使用器皿储存食物</a:t>
                  </a:r>
                </a:p>
              </p:txBody>
            </p:sp>
          </p:grpSp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E8FB238A-C240-4A32-B1B3-546EAF9D0F89}"/>
                  </a:ext>
                </a:extLst>
              </p:cNvPr>
              <p:cNvGrpSpPr/>
              <p:nvPr/>
            </p:nvGrpSpPr>
            <p:grpSpPr>
              <a:xfrm>
                <a:off x="4031358" y="3160689"/>
                <a:ext cx="477852" cy="1140097"/>
                <a:chOff x="4031358" y="3160689"/>
                <a:chExt cx="477852" cy="1140097"/>
              </a:xfrm>
            </p:grpSpPr>
            <p:cxnSp>
              <p:nvCxnSpPr>
                <p:cNvPr id="44" name="直接连接符 43">
                  <a:extLst>
                    <a:ext uri="{FF2B5EF4-FFF2-40B4-BE49-F238E27FC236}">
                      <a16:creationId xmlns:a16="http://schemas.microsoft.com/office/drawing/2014/main" id="{B50A1957-CB88-434E-8F77-1F155BE28034}"/>
                    </a:ext>
                  </a:extLst>
                </p:cNvPr>
                <p:cNvCxnSpPr>
                  <a:cxnSpLocks/>
                  <a:stCxn id="46" idx="4"/>
                  <a:endCxn id="49" idx="0"/>
                </p:cNvCxnSpPr>
                <p:nvPr/>
              </p:nvCxnSpPr>
              <p:spPr>
                <a:xfrm>
                  <a:off x="4270284" y="3638541"/>
                  <a:ext cx="0" cy="662245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85000"/>
                    </a:schemeClr>
                  </a:solidFill>
                  <a:round/>
                  <a:headEnd type="oval"/>
                  <a:tail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45" name="组合 44">
                  <a:extLst>
                    <a:ext uri="{FF2B5EF4-FFF2-40B4-BE49-F238E27FC236}">
                      <a16:creationId xmlns:a16="http://schemas.microsoft.com/office/drawing/2014/main" id="{9C986884-2CE1-4D72-A949-170F196833D8}"/>
                    </a:ext>
                  </a:extLst>
                </p:cNvPr>
                <p:cNvGrpSpPr/>
                <p:nvPr/>
              </p:nvGrpSpPr>
              <p:grpSpPr>
                <a:xfrm>
                  <a:off x="4031358" y="3160689"/>
                  <a:ext cx="477852" cy="477852"/>
                  <a:chOff x="8869623" y="2257176"/>
                  <a:chExt cx="634692" cy="634692"/>
                </a:xfrm>
              </p:grpSpPr>
              <p:sp>
                <p:nvSpPr>
                  <p:cNvPr id="46" name="椭圆 45">
                    <a:extLst>
                      <a:ext uri="{FF2B5EF4-FFF2-40B4-BE49-F238E27FC236}">
                        <a16:creationId xmlns:a16="http://schemas.microsoft.com/office/drawing/2014/main" id="{9C829853-2821-4064-8CDB-1871F543C2A0}"/>
                      </a:ext>
                    </a:extLst>
                  </p:cNvPr>
                  <p:cNvSpPr/>
                  <p:nvPr/>
                </p:nvSpPr>
                <p:spPr>
                  <a:xfrm>
                    <a:off x="8869623" y="2257176"/>
                    <a:ext cx="634692" cy="634692"/>
                  </a:xfrm>
                  <a:prstGeom prst="ellipse">
                    <a:avLst/>
                  </a:prstGeom>
                  <a:solidFill>
                    <a:schemeClr val="bg1"/>
                  </a:solidFill>
                  <a:ln w="38100" cmpd="thickThin">
                    <a:solidFill>
                      <a:schemeClr val="accent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7" name="任意多边形: 形状 46">
                    <a:extLst>
                      <a:ext uri="{FF2B5EF4-FFF2-40B4-BE49-F238E27FC236}">
                        <a16:creationId xmlns:a16="http://schemas.microsoft.com/office/drawing/2014/main" id="{36511B43-650A-4A43-B0C1-18562950C42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085590" y="2371861"/>
                    <a:ext cx="202756" cy="393188"/>
                  </a:xfrm>
                  <a:custGeom>
                    <a:avLst/>
                    <a:gdLst>
                      <a:gd name="connsiteX0" fmla="*/ 159127 w 313668"/>
                      <a:gd name="connsiteY0" fmla="*/ 411396 h 608274"/>
                      <a:gd name="connsiteX1" fmla="*/ 159127 w 313668"/>
                      <a:gd name="connsiteY1" fmla="*/ 577440 h 608274"/>
                      <a:gd name="connsiteX2" fmla="*/ 128336 w 313668"/>
                      <a:gd name="connsiteY2" fmla="*/ 608274 h 608274"/>
                      <a:gd name="connsiteX3" fmla="*/ 97453 w 313668"/>
                      <a:gd name="connsiteY3" fmla="*/ 577440 h 608274"/>
                      <a:gd name="connsiteX4" fmla="*/ 97453 w 313668"/>
                      <a:gd name="connsiteY4" fmla="*/ 458706 h 608274"/>
                      <a:gd name="connsiteX5" fmla="*/ 128221 w 313668"/>
                      <a:gd name="connsiteY5" fmla="*/ 306395 h 608274"/>
                      <a:gd name="connsiteX6" fmla="*/ 168122 w 313668"/>
                      <a:gd name="connsiteY6" fmla="*/ 358410 h 608274"/>
                      <a:gd name="connsiteX7" fmla="*/ 171347 w 313668"/>
                      <a:gd name="connsiteY7" fmla="*/ 370377 h 608274"/>
                      <a:gd name="connsiteX8" fmla="*/ 165173 w 313668"/>
                      <a:gd name="connsiteY8" fmla="*/ 381149 h 608274"/>
                      <a:gd name="connsiteX9" fmla="*/ 71917 w 313668"/>
                      <a:gd name="connsiteY9" fmla="*/ 452588 h 608274"/>
                      <a:gd name="connsiteX10" fmla="*/ 62057 w 313668"/>
                      <a:gd name="connsiteY10" fmla="*/ 455994 h 608274"/>
                      <a:gd name="connsiteX11" fmla="*/ 49156 w 313668"/>
                      <a:gd name="connsiteY11" fmla="*/ 449642 h 608274"/>
                      <a:gd name="connsiteX12" fmla="*/ 3357 w 313668"/>
                      <a:gd name="connsiteY12" fmla="*/ 390079 h 608274"/>
                      <a:gd name="connsiteX13" fmla="*/ 132 w 313668"/>
                      <a:gd name="connsiteY13" fmla="*/ 378019 h 608274"/>
                      <a:gd name="connsiteX14" fmla="*/ 6398 w 313668"/>
                      <a:gd name="connsiteY14" fmla="*/ 367339 h 608274"/>
                      <a:gd name="connsiteX15" fmla="*/ 9162 w 313668"/>
                      <a:gd name="connsiteY15" fmla="*/ 365130 h 608274"/>
                      <a:gd name="connsiteX16" fmla="*/ 43904 w 313668"/>
                      <a:gd name="connsiteY16" fmla="*/ 407754 h 608274"/>
                      <a:gd name="connsiteX17" fmla="*/ 59661 w 313668"/>
                      <a:gd name="connsiteY17" fmla="*/ 410240 h 608274"/>
                      <a:gd name="connsiteX18" fmla="*/ 107948 w 313668"/>
                      <a:gd name="connsiteY18" fmla="*/ 375165 h 608274"/>
                      <a:gd name="connsiteX19" fmla="*/ 126009 w 313668"/>
                      <a:gd name="connsiteY19" fmla="*/ 319836 h 608274"/>
                      <a:gd name="connsiteX20" fmla="*/ 128221 w 313668"/>
                      <a:gd name="connsiteY20" fmla="*/ 306395 h 608274"/>
                      <a:gd name="connsiteX21" fmla="*/ 163534 w 313668"/>
                      <a:gd name="connsiteY21" fmla="*/ 163741 h 608274"/>
                      <a:gd name="connsiteX22" fmla="*/ 160861 w 313668"/>
                      <a:gd name="connsiteY22" fmla="*/ 166411 h 608274"/>
                      <a:gd name="connsiteX23" fmla="*/ 160861 w 313668"/>
                      <a:gd name="connsiteY23" fmla="*/ 185098 h 608274"/>
                      <a:gd name="connsiteX24" fmla="*/ 163534 w 313668"/>
                      <a:gd name="connsiteY24" fmla="*/ 187767 h 608274"/>
                      <a:gd name="connsiteX25" fmla="*/ 179484 w 313668"/>
                      <a:gd name="connsiteY25" fmla="*/ 187767 h 608274"/>
                      <a:gd name="connsiteX26" fmla="*/ 182157 w 313668"/>
                      <a:gd name="connsiteY26" fmla="*/ 185098 h 608274"/>
                      <a:gd name="connsiteX27" fmla="*/ 182157 w 313668"/>
                      <a:gd name="connsiteY27" fmla="*/ 166411 h 608274"/>
                      <a:gd name="connsiteX28" fmla="*/ 179484 w 313668"/>
                      <a:gd name="connsiteY28" fmla="*/ 163741 h 608274"/>
                      <a:gd name="connsiteX29" fmla="*/ 131358 w 313668"/>
                      <a:gd name="connsiteY29" fmla="*/ 155456 h 608274"/>
                      <a:gd name="connsiteX30" fmla="*/ 211383 w 313668"/>
                      <a:gd name="connsiteY30" fmla="*/ 155456 h 608274"/>
                      <a:gd name="connsiteX31" fmla="*/ 260338 w 313668"/>
                      <a:gd name="connsiteY31" fmla="*/ 190989 h 608274"/>
                      <a:gd name="connsiteX32" fmla="*/ 312151 w 313668"/>
                      <a:gd name="connsiteY32" fmla="*/ 350060 h 608274"/>
                      <a:gd name="connsiteX33" fmla="*/ 292606 w 313668"/>
                      <a:gd name="connsiteY33" fmla="*/ 388447 h 608274"/>
                      <a:gd name="connsiteX34" fmla="*/ 283110 w 313668"/>
                      <a:gd name="connsiteY34" fmla="*/ 389920 h 608274"/>
                      <a:gd name="connsiteX35" fmla="*/ 254069 w 313668"/>
                      <a:gd name="connsiteY35" fmla="*/ 368931 h 608274"/>
                      <a:gd name="connsiteX36" fmla="*/ 245310 w 313668"/>
                      <a:gd name="connsiteY36" fmla="*/ 341867 h 608274"/>
                      <a:gd name="connsiteX37" fmla="*/ 245310 w 313668"/>
                      <a:gd name="connsiteY37" fmla="*/ 383108 h 608274"/>
                      <a:gd name="connsiteX38" fmla="*/ 245310 w 313668"/>
                      <a:gd name="connsiteY38" fmla="*/ 577436 h 608274"/>
                      <a:gd name="connsiteX39" fmla="*/ 214425 w 313668"/>
                      <a:gd name="connsiteY39" fmla="*/ 608274 h 608274"/>
                      <a:gd name="connsiteX40" fmla="*/ 183540 w 313668"/>
                      <a:gd name="connsiteY40" fmla="*/ 577436 h 608274"/>
                      <a:gd name="connsiteX41" fmla="*/ 183540 w 313668"/>
                      <a:gd name="connsiteY41" fmla="*/ 391301 h 608274"/>
                      <a:gd name="connsiteX42" fmla="*/ 191561 w 313668"/>
                      <a:gd name="connsiteY42" fmla="*/ 373074 h 608274"/>
                      <a:gd name="connsiteX43" fmla="*/ 184278 w 313668"/>
                      <a:gd name="connsiteY43" fmla="*/ 346102 h 608274"/>
                      <a:gd name="connsiteX44" fmla="*/ 181789 w 313668"/>
                      <a:gd name="connsiteY44" fmla="*/ 342788 h 608274"/>
                      <a:gd name="connsiteX45" fmla="*/ 197646 w 313668"/>
                      <a:gd name="connsiteY45" fmla="*/ 323825 h 608274"/>
                      <a:gd name="connsiteX46" fmla="*/ 201242 w 313668"/>
                      <a:gd name="connsiteY46" fmla="*/ 310661 h 608274"/>
                      <a:gd name="connsiteX47" fmla="*/ 185015 w 313668"/>
                      <a:gd name="connsiteY47" fmla="*/ 216396 h 608274"/>
                      <a:gd name="connsiteX48" fmla="*/ 182526 w 313668"/>
                      <a:gd name="connsiteY48" fmla="*/ 201760 h 608274"/>
                      <a:gd name="connsiteX49" fmla="*/ 179853 w 313668"/>
                      <a:gd name="connsiteY49" fmla="*/ 199550 h 608274"/>
                      <a:gd name="connsiteX50" fmla="*/ 162797 w 313668"/>
                      <a:gd name="connsiteY50" fmla="*/ 199550 h 608274"/>
                      <a:gd name="connsiteX51" fmla="*/ 160123 w 313668"/>
                      <a:gd name="connsiteY51" fmla="*/ 201760 h 608274"/>
                      <a:gd name="connsiteX52" fmla="*/ 157634 w 313668"/>
                      <a:gd name="connsiteY52" fmla="*/ 216396 h 608274"/>
                      <a:gd name="connsiteX53" fmla="*/ 144266 w 313668"/>
                      <a:gd name="connsiteY53" fmla="*/ 293999 h 608274"/>
                      <a:gd name="connsiteX54" fmla="*/ 138550 w 313668"/>
                      <a:gd name="connsiteY54" fmla="*/ 286450 h 608274"/>
                      <a:gd name="connsiteX55" fmla="*/ 119650 w 313668"/>
                      <a:gd name="connsiteY55" fmla="*/ 273747 h 608274"/>
                      <a:gd name="connsiteX56" fmla="*/ 119189 w 313668"/>
                      <a:gd name="connsiteY56" fmla="*/ 275127 h 608274"/>
                      <a:gd name="connsiteX57" fmla="*/ 88580 w 313668"/>
                      <a:gd name="connsiteY57" fmla="*/ 368931 h 608274"/>
                      <a:gd name="connsiteX58" fmla="*/ 50135 w 313668"/>
                      <a:gd name="connsiteY58" fmla="*/ 388447 h 608274"/>
                      <a:gd name="connsiteX59" fmla="*/ 30590 w 313668"/>
                      <a:gd name="connsiteY59" fmla="*/ 350060 h 608274"/>
                      <a:gd name="connsiteX60" fmla="*/ 61107 w 313668"/>
                      <a:gd name="connsiteY60" fmla="*/ 256256 h 608274"/>
                      <a:gd name="connsiteX61" fmla="*/ 82403 w 313668"/>
                      <a:gd name="connsiteY61" fmla="*/ 190989 h 608274"/>
                      <a:gd name="connsiteX62" fmla="*/ 131358 w 313668"/>
                      <a:gd name="connsiteY62" fmla="*/ 155456 h 608274"/>
                      <a:gd name="connsiteX63" fmla="*/ 171336 w 313668"/>
                      <a:gd name="connsiteY63" fmla="*/ 0 h 608274"/>
                      <a:gd name="connsiteX64" fmla="*/ 238585 w 313668"/>
                      <a:gd name="connsiteY64" fmla="*/ 67108 h 608274"/>
                      <a:gd name="connsiteX65" fmla="*/ 171336 w 313668"/>
                      <a:gd name="connsiteY65" fmla="*/ 134216 h 608274"/>
                      <a:gd name="connsiteX66" fmla="*/ 104087 w 313668"/>
                      <a:gd name="connsiteY66" fmla="*/ 67108 h 608274"/>
                      <a:gd name="connsiteX67" fmla="*/ 171336 w 313668"/>
                      <a:gd name="connsiteY67" fmla="*/ 0 h 6082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</a:cxnLst>
                    <a:rect l="l" t="t" r="r" b="b"/>
                    <a:pathLst>
                      <a:path w="313668" h="608274">
                        <a:moveTo>
                          <a:pt x="159127" y="411396"/>
                        </a:moveTo>
                        <a:lnTo>
                          <a:pt x="159127" y="577440"/>
                        </a:lnTo>
                        <a:cubicBezTo>
                          <a:pt x="159127" y="594468"/>
                          <a:pt x="145391" y="608274"/>
                          <a:pt x="128336" y="608274"/>
                        </a:cubicBezTo>
                        <a:cubicBezTo>
                          <a:pt x="111282" y="608274"/>
                          <a:pt x="97453" y="594468"/>
                          <a:pt x="97453" y="577440"/>
                        </a:cubicBezTo>
                        <a:lnTo>
                          <a:pt x="97453" y="458706"/>
                        </a:lnTo>
                        <a:close/>
                        <a:moveTo>
                          <a:pt x="128221" y="306395"/>
                        </a:moveTo>
                        <a:lnTo>
                          <a:pt x="168122" y="358410"/>
                        </a:lnTo>
                        <a:cubicBezTo>
                          <a:pt x="170794" y="361816"/>
                          <a:pt x="171900" y="366143"/>
                          <a:pt x="171347" y="370377"/>
                        </a:cubicBezTo>
                        <a:cubicBezTo>
                          <a:pt x="170794" y="374612"/>
                          <a:pt x="168583" y="378479"/>
                          <a:pt x="165173" y="381149"/>
                        </a:cubicBezTo>
                        <a:lnTo>
                          <a:pt x="71917" y="452588"/>
                        </a:lnTo>
                        <a:cubicBezTo>
                          <a:pt x="68968" y="454889"/>
                          <a:pt x="65467" y="455994"/>
                          <a:pt x="62057" y="455994"/>
                        </a:cubicBezTo>
                        <a:cubicBezTo>
                          <a:pt x="57173" y="455994"/>
                          <a:pt x="52289" y="453785"/>
                          <a:pt x="49156" y="449642"/>
                        </a:cubicBezTo>
                        <a:lnTo>
                          <a:pt x="3357" y="390079"/>
                        </a:lnTo>
                        <a:cubicBezTo>
                          <a:pt x="777" y="386672"/>
                          <a:pt x="-421" y="382345"/>
                          <a:pt x="132" y="378019"/>
                        </a:cubicBezTo>
                        <a:cubicBezTo>
                          <a:pt x="685" y="373784"/>
                          <a:pt x="2988" y="369917"/>
                          <a:pt x="6398" y="367339"/>
                        </a:cubicBezTo>
                        <a:lnTo>
                          <a:pt x="9162" y="365130"/>
                        </a:lnTo>
                        <a:cubicBezTo>
                          <a:pt x="11374" y="384279"/>
                          <a:pt x="24367" y="401402"/>
                          <a:pt x="43904" y="407754"/>
                        </a:cubicBezTo>
                        <a:cubicBezTo>
                          <a:pt x="49064" y="409411"/>
                          <a:pt x="54409" y="410240"/>
                          <a:pt x="59661" y="410240"/>
                        </a:cubicBezTo>
                        <a:cubicBezTo>
                          <a:pt x="81040" y="410240"/>
                          <a:pt x="100945" y="396615"/>
                          <a:pt x="107948" y="375165"/>
                        </a:cubicBezTo>
                        <a:lnTo>
                          <a:pt x="126009" y="319836"/>
                        </a:lnTo>
                        <a:cubicBezTo>
                          <a:pt x="127484" y="315325"/>
                          <a:pt x="128037" y="310906"/>
                          <a:pt x="128221" y="306395"/>
                        </a:cubicBezTo>
                        <a:close/>
                        <a:moveTo>
                          <a:pt x="163534" y="163741"/>
                        </a:moveTo>
                        <a:cubicBezTo>
                          <a:pt x="162059" y="163741"/>
                          <a:pt x="160861" y="164938"/>
                          <a:pt x="160861" y="166411"/>
                        </a:cubicBezTo>
                        <a:lnTo>
                          <a:pt x="160861" y="185098"/>
                        </a:lnTo>
                        <a:cubicBezTo>
                          <a:pt x="160861" y="186571"/>
                          <a:pt x="162059" y="187767"/>
                          <a:pt x="163534" y="187767"/>
                        </a:cubicBezTo>
                        <a:lnTo>
                          <a:pt x="179484" y="187767"/>
                        </a:lnTo>
                        <a:cubicBezTo>
                          <a:pt x="180959" y="187767"/>
                          <a:pt x="182157" y="186571"/>
                          <a:pt x="182157" y="185098"/>
                        </a:cubicBezTo>
                        <a:lnTo>
                          <a:pt x="182157" y="166411"/>
                        </a:lnTo>
                        <a:cubicBezTo>
                          <a:pt x="182157" y="164938"/>
                          <a:pt x="180959" y="163741"/>
                          <a:pt x="179484" y="163741"/>
                        </a:cubicBezTo>
                        <a:close/>
                        <a:moveTo>
                          <a:pt x="131358" y="155456"/>
                        </a:moveTo>
                        <a:lnTo>
                          <a:pt x="211383" y="155456"/>
                        </a:lnTo>
                        <a:cubicBezTo>
                          <a:pt x="233694" y="155456"/>
                          <a:pt x="253424" y="169725"/>
                          <a:pt x="260338" y="190989"/>
                        </a:cubicBezTo>
                        <a:lnTo>
                          <a:pt x="312151" y="350060"/>
                        </a:lnTo>
                        <a:cubicBezTo>
                          <a:pt x="317406" y="366078"/>
                          <a:pt x="308556" y="383292"/>
                          <a:pt x="292606" y="388447"/>
                        </a:cubicBezTo>
                        <a:cubicBezTo>
                          <a:pt x="289471" y="389460"/>
                          <a:pt x="286245" y="389920"/>
                          <a:pt x="283110" y="389920"/>
                        </a:cubicBezTo>
                        <a:cubicBezTo>
                          <a:pt x="270295" y="389920"/>
                          <a:pt x="258310" y="381819"/>
                          <a:pt x="254069" y="368931"/>
                        </a:cubicBezTo>
                        <a:lnTo>
                          <a:pt x="245310" y="341867"/>
                        </a:lnTo>
                        <a:lnTo>
                          <a:pt x="245310" y="383108"/>
                        </a:lnTo>
                        <a:lnTo>
                          <a:pt x="245310" y="577436"/>
                        </a:lnTo>
                        <a:cubicBezTo>
                          <a:pt x="245310" y="594466"/>
                          <a:pt x="231481" y="608274"/>
                          <a:pt x="214425" y="608274"/>
                        </a:cubicBezTo>
                        <a:cubicBezTo>
                          <a:pt x="197369" y="608274"/>
                          <a:pt x="183540" y="594466"/>
                          <a:pt x="183540" y="577436"/>
                        </a:cubicBezTo>
                        <a:lnTo>
                          <a:pt x="183540" y="391301"/>
                        </a:lnTo>
                        <a:cubicBezTo>
                          <a:pt x="187873" y="386146"/>
                          <a:pt x="190639" y="379886"/>
                          <a:pt x="191561" y="373074"/>
                        </a:cubicBezTo>
                        <a:cubicBezTo>
                          <a:pt x="192852" y="363316"/>
                          <a:pt x="190271" y="353742"/>
                          <a:pt x="184278" y="346102"/>
                        </a:cubicBezTo>
                        <a:lnTo>
                          <a:pt x="181789" y="342788"/>
                        </a:lnTo>
                        <a:lnTo>
                          <a:pt x="197646" y="323825"/>
                        </a:lnTo>
                        <a:cubicBezTo>
                          <a:pt x="200688" y="320142"/>
                          <a:pt x="201979" y="315355"/>
                          <a:pt x="201242" y="310661"/>
                        </a:cubicBezTo>
                        <a:lnTo>
                          <a:pt x="185015" y="216396"/>
                        </a:lnTo>
                        <a:lnTo>
                          <a:pt x="182526" y="201760"/>
                        </a:lnTo>
                        <a:cubicBezTo>
                          <a:pt x="182250" y="200471"/>
                          <a:pt x="181143" y="199550"/>
                          <a:pt x="179853" y="199550"/>
                        </a:cubicBezTo>
                        <a:lnTo>
                          <a:pt x="162797" y="199550"/>
                        </a:lnTo>
                        <a:cubicBezTo>
                          <a:pt x="161506" y="199550"/>
                          <a:pt x="160400" y="200471"/>
                          <a:pt x="160123" y="201760"/>
                        </a:cubicBezTo>
                        <a:lnTo>
                          <a:pt x="157634" y="216396"/>
                        </a:lnTo>
                        <a:lnTo>
                          <a:pt x="144266" y="293999"/>
                        </a:lnTo>
                        <a:lnTo>
                          <a:pt x="138550" y="286450"/>
                        </a:lnTo>
                        <a:cubicBezTo>
                          <a:pt x="133663" y="280191"/>
                          <a:pt x="127025" y="275864"/>
                          <a:pt x="119650" y="273747"/>
                        </a:cubicBezTo>
                        <a:lnTo>
                          <a:pt x="119189" y="275127"/>
                        </a:lnTo>
                        <a:lnTo>
                          <a:pt x="88580" y="368931"/>
                        </a:lnTo>
                        <a:cubicBezTo>
                          <a:pt x="83418" y="384949"/>
                          <a:pt x="66177" y="393694"/>
                          <a:pt x="50135" y="388447"/>
                        </a:cubicBezTo>
                        <a:cubicBezTo>
                          <a:pt x="34094" y="383200"/>
                          <a:pt x="25335" y="366078"/>
                          <a:pt x="30590" y="350060"/>
                        </a:cubicBezTo>
                        <a:lnTo>
                          <a:pt x="61107" y="256256"/>
                        </a:lnTo>
                        <a:lnTo>
                          <a:pt x="82403" y="190989"/>
                        </a:lnTo>
                        <a:cubicBezTo>
                          <a:pt x="89318" y="169725"/>
                          <a:pt x="108955" y="155456"/>
                          <a:pt x="131358" y="155456"/>
                        </a:cubicBezTo>
                        <a:close/>
                        <a:moveTo>
                          <a:pt x="171336" y="0"/>
                        </a:moveTo>
                        <a:cubicBezTo>
                          <a:pt x="208477" y="0"/>
                          <a:pt x="238585" y="30045"/>
                          <a:pt x="238585" y="67108"/>
                        </a:cubicBezTo>
                        <a:cubicBezTo>
                          <a:pt x="238585" y="104171"/>
                          <a:pt x="208477" y="134216"/>
                          <a:pt x="171336" y="134216"/>
                        </a:cubicBezTo>
                        <a:cubicBezTo>
                          <a:pt x="134195" y="134216"/>
                          <a:pt x="104087" y="104171"/>
                          <a:pt x="104087" y="67108"/>
                        </a:cubicBezTo>
                        <a:cubicBezTo>
                          <a:pt x="104087" y="30045"/>
                          <a:pt x="134195" y="0"/>
                          <a:pt x="171336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</p:grpSp>
          </p:grp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43BE677A-B5B9-461D-A2E5-8D4510D20087}"/>
                </a:ext>
              </a:extLst>
            </p:cNvPr>
            <p:cNvGrpSpPr/>
            <p:nvPr/>
          </p:nvGrpSpPr>
          <p:grpSpPr>
            <a:xfrm>
              <a:off x="8020819" y="1341500"/>
              <a:ext cx="2140566" cy="2297041"/>
              <a:chOff x="6815616" y="1341500"/>
              <a:chExt cx="2140566" cy="2297041"/>
            </a:xfrm>
          </p:grpSpPr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id="{18DB54B3-66C1-4458-B013-AC2AFCDB7349}"/>
                  </a:ext>
                </a:extLst>
              </p:cNvPr>
              <p:cNvGrpSpPr/>
              <p:nvPr/>
            </p:nvGrpSpPr>
            <p:grpSpPr>
              <a:xfrm>
                <a:off x="6815616" y="1341500"/>
                <a:ext cx="2140566" cy="990220"/>
                <a:chOff x="6815616" y="1341500"/>
                <a:chExt cx="2140566" cy="990220"/>
              </a:xfrm>
            </p:grpSpPr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5FC18171-A069-4697-94E0-DFC674D92BE5}"/>
                    </a:ext>
                  </a:extLst>
                </p:cNvPr>
                <p:cNvSpPr/>
                <p:nvPr/>
              </p:nvSpPr>
              <p:spPr bwMode="auto">
                <a:xfrm>
                  <a:off x="6815616" y="1692639"/>
                  <a:ext cx="2140566" cy="6390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rIns="90000" anchor="t" anchorCtr="0">
                  <a:norm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…… 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文本框 40">
                  <a:extLst>
                    <a:ext uri="{FF2B5EF4-FFF2-40B4-BE49-F238E27FC236}">
                      <a16:creationId xmlns:a16="http://schemas.microsoft.com/office/drawing/2014/main" id="{84624F38-BD58-43CF-A283-24EF82F9BC64}"/>
                    </a:ext>
                  </a:extLst>
                </p:cNvPr>
                <p:cNvSpPr txBox="1"/>
                <p:nvPr/>
              </p:nvSpPr>
              <p:spPr bwMode="auto">
                <a:xfrm>
                  <a:off x="6815616" y="1341500"/>
                  <a:ext cx="2140566" cy="3511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rIns="90000">
                  <a:normAutofit lnSpcReduction="10000"/>
                </a:bodyPr>
                <a:lstStyle/>
                <a:p>
                  <a:pPr algn="ctr"/>
                  <a:r>
                    <a:rPr lang="zh-CN" altLang="en-US" b="1" dirty="0">
                      <a:cs typeface="+mn-ea"/>
                      <a:sym typeface="+mn-lt"/>
                    </a:rPr>
                    <a:t>不吃过期变质食品</a:t>
                  </a:r>
                </a:p>
              </p:txBody>
            </p:sp>
          </p:grpSp>
          <p:grpSp>
            <p:nvGrpSpPr>
              <p:cNvPr id="35" name="组合 34">
                <a:extLst>
                  <a:ext uri="{FF2B5EF4-FFF2-40B4-BE49-F238E27FC236}">
                    <a16:creationId xmlns:a16="http://schemas.microsoft.com/office/drawing/2014/main" id="{91637B97-ADF6-468F-B452-7F9F101055E8}"/>
                  </a:ext>
                </a:extLst>
              </p:cNvPr>
              <p:cNvGrpSpPr/>
              <p:nvPr/>
            </p:nvGrpSpPr>
            <p:grpSpPr>
              <a:xfrm>
                <a:off x="7646973" y="2331720"/>
                <a:ext cx="477852" cy="1306821"/>
                <a:chOff x="7646973" y="2331720"/>
                <a:chExt cx="477852" cy="1306821"/>
              </a:xfrm>
            </p:grpSpPr>
            <p:cxnSp>
              <p:nvCxnSpPr>
                <p:cNvPr id="36" name="直接连接符 35">
                  <a:extLst>
                    <a:ext uri="{FF2B5EF4-FFF2-40B4-BE49-F238E27FC236}">
                      <a16:creationId xmlns:a16="http://schemas.microsoft.com/office/drawing/2014/main" id="{7B0370AA-BE50-4180-82C1-22E91D31D453}"/>
                    </a:ext>
                  </a:extLst>
                </p:cNvPr>
                <p:cNvCxnSpPr>
                  <a:cxnSpLocks/>
                  <a:stCxn id="38" idx="0"/>
                  <a:endCxn id="40" idx="2"/>
                </p:cNvCxnSpPr>
                <p:nvPr/>
              </p:nvCxnSpPr>
              <p:spPr>
                <a:xfrm flipV="1">
                  <a:off x="7885899" y="2331720"/>
                  <a:ext cx="0" cy="828969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85000"/>
                    </a:schemeClr>
                  </a:solidFill>
                  <a:round/>
                  <a:headEnd type="oval"/>
                  <a:tail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7" name="组合 36">
                  <a:extLst>
                    <a:ext uri="{FF2B5EF4-FFF2-40B4-BE49-F238E27FC236}">
                      <a16:creationId xmlns:a16="http://schemas.microsoft.com/office/drawing/2014/main" id="{65242C16-346D-4234-9065-42E4FA85190B}"/>
                    </a:ext>
                  </a:extLst>
                </p:cNvPr>
                <p:cNvGrpSpPr/>
                <p:nvPr/>
              </p:nvGrpSpPr>
              <p:grpSpPr>
                <a:xfrm>
                  <a:off x="7646973" y="3160689"/>
                  <a:ext cx="477852" cy="477852"/>
                  <a:chOff x="8869623" y="2257176"/>
                  <a:chExt cx="634692" cy="634692"/>
                </a:xfrm>
              </p:grpSpPr>
              <p:sp>
                <p:nvSpPr>
                  <p:cNvPr id="38" name="椭圆 37">
                    <a:extLst>
                      <a:ext uri="{FF2B5EF4-FFF2-40B4-BE49-F238E27FC236}">
                        <a16:creationId xmlns:a16="http://schemas.microsoft.com/office/drawing/2014/main" id="{4A2F23A9-AA33-4649-9D8F-4C35059A9580}"/>
                      </a:ext>
                    </a:extLst>
                  </p:cNvPr>
                  <p:cNvSpPr/>
                  <p:nvPr/>
                </p:nvSpPr>
                <p:spPr>
                  <a:xfrm>
                    <a:off x="8869623" y="2257176"/>
                    <a:ext cx="634692" cy="634692"/>
                  </a:xfrm>
                  <a:prstGeom prst="ellipse">
                    <a:avLst/>
                  </a:prstGeom>
                  <a:solidFill>
                    <a:schemeClr val="bg1"/>
                  </a:solidFill>
                  <a:ln w="38100" cmpd="thickThin">
                    <a:solidFill>
                      <a:schemeClr val="bg1">
                        <a:lumMod val="65000"/>
                      </a:schemeClr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39" name="任意多边形: 形状 38">
                    <a:extLst>
                      <a:ext uri="{FF2B5EF4-FFF2-40B4-BE49-F238E27FC236}">
                        <a16:creationId xmlns:a16="http://schemas.microsoft.com/office/drawing/2014/main" id="{9D9F24AF-80F7-4440-A8CC-7D1CB6C5642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085590" y="2371861"/>
                    <a:ext cx="202756" cy="393188"/>
                  </a:xfrm>
                  <a:custGeom>
                    <a:avLst/>
                    <a:gdLst>
                      <a:gd name="connsiteX0" fmla="*/ 159127 w 313668"/>
                      <a:gd name="connsiteY0" fmla="*/ 411396 h 608274"/>
                      <a:gd name="connsiteX1" fmla="*/ 159127 w 313668"/>
                      <a:gd name="connsiteY1" fmla="*/ 577440 h 608274"/>
                      <a:gd name="connsiteX2" fmla="*/ 128336 w 313668"/>
                      <a:gd name="connsiteY2" fmla="*/ 608274 h 608274"/>
                      <a:gd name="connsiteX3" fmla="*/ 97453 w 313668"/>
                      <a:gd name="connsiteY3" fmla="*/ 577440 h 608274"/>
                      <a:gd name="connsiteX4" fmla="*/ 97453 w 313668"/>
                      <a:gd name="connsiteY4" fmla="*/ 458706 h 608274"/>
                      <a:gd name="connsiteX5" fmla="*/ 128221 w 313668"/>
                      <a:gd name="connsiteY5" fmla="*/ 306395 h 608274"/>
                      <a:gd name="connsiteX6" fmla="*/ 168122 w 313668"/>
                      <a:gd name="connsiteY6" fmla="*/ 358410 h 608274"/>
                      <a:gd name="connsiteX7" fmla="*/ 171347 w 313668"/>
                      <a:gd name="connsiteY7" fmla="*/ 370377 h 608274"/>
                      <a:gd name="connsiteX8" fmla="*/ 165173 w 313668"/>
                      <a:gd name="connsiteY8" fmla="*/ 381149 h 608274"/>
                      <a:gd name="connsiteX9" fmla="*/ 71917 w 313668"/>
                      <a:gd name="connsiteY9" fmla="*/ 452588 h 608274"/>
                      <a:gd name="connsiteX10" fmla="*/ 62057 w 313668"/>
                      <a:gd name="connsiteY10" fmla="*/ 455994 h 608274"/>
                      <a:gd name="connsiteX11" fmla="*/ 49156 w 313668"/>
                      <a:gd name="connsiteY11" fmla="*/ 449642 h 608274"/>
                      <a:gd name="connsiteX12" fmla="*/ 3357 w 313668"/>
                      <a:gd name="connsiteY12" fmla="*/ 390079 h 608274"/>
                      <a:gd name="connsiteX13" fmla="*/ 132 w 313668"/>
                      <a:gd name="connsiteY13" fmla="*/ 378019 h 608274"/>
                      <a:gd name="connsiteX14" fmla="*/ 6398 w 313668"/>
                      <a:gd name="connsiteY14" fmla="*/ 367339 h 608274"/>
                      <a:gd name="connsiteX15" fmla="*/ 9162 w 313668"/>
                      <a:gd name="connsiteY15" fmla="*/ 365130 h 608274"/>
                      <a:gd name="connsiteX16" fmla="*/ 43904 w 313668"/>
                      <a:gd name="connsiteY16" fmla="*/ 407754 h 608274"/>
                      <a:gd name="connsiteX17" fmla="*/ 59661 w 313668"/>
                      <a:gd name="connsiteY17" fmla="*/ 410240 h 608274"/>
                      <a:gd name="connsiteX18" fmla="*/ 107948 w 313668"/>
                      <a:gd name="connsiteY18" fmla="*/ 375165 h 608274"/>
                      <a:gd name="connsiteX19" fmla="*/ 126009 w 313668"/>
                      <a:gd name="connsiteY19" fmla="*/ 319836 h 608274"/>
                      <a:gd name="connsiteX20" fmla="*/ 128221 w 313668"/>
                      <a:gd name="connsiteY20" fmla="*/ 306395 h 608274"/>
                      <a:gd name="connsiteX21" fmla="*/ 163534 w 313668"/>
                      <a:gd name="connsiteY21" fmla="*/ 163741 h 608274"/>
                      <a:gd name="connsiteX22" fmla="*/ 160861 w 313668"/>
                      <a:gd name="connsiteY22" fmla="*/ 166411 h 608274"/>
                      <a:gd name="connsiteX23" fmla="*/ 160861 w 313668"/>
                      <a:gd name="connsiteY23" fmla="*/ 185098 h 608274"/>
                      <a:gd name="connsiteX24" fmla="*/ 163534 w 313668"/>
                      <a:gd name="connsiteY24" fmla="*/ 187767 h 608274"/>
                      <a:gd name="connsiteX25" fmla="*/ 179484 w 313668"/>
                      <a:gd name="connsiteY25" fmla="*/ 187767 h 608274"/>
                      <a:gd name="connsiteX26" fmla="*/ 182157 w 313668"/>
                      <a:gd name="connsiteY26" fmla="*/ 185098 h 608274"/>
                      <a:gd name="connsiteX27" fmla="*/ 182157 w 313668"/>
                      <a:gd name="connsiteY27" fmla="*/ 166411 h 608274"/>
                      <a:gd name="connsiteX28" fmla="*/ 179484 w 313668"/>
                      <a:gd name="connsiteY28" fmla="*/ 163741 h 608274"/>
                      <a:gd name="connsiteX29" fmla="*/ 131358 w 313668"/>
                      <a:gd name="connsiteY29" fmla="*/ 155456 h 608274"/>
                      <a:gd name="connsiteX30" fmla="*/ 211383 w 313668"/>
                      <a:gd name="connsiteY30" fmla="*/ 155456 h 608274"/>
                      <a:gd name="connsiteX31" fmla="*/ 260338 w 313668"/>
                      <a:gd name="connsiteY31" fmla="*/ 190989 h 608274"/>
                      <a:gd name="connsiteX32" fmla="*/ 312151 w 313668"/>
                      <a:gd name="connsiteY32" fmla="*/ 350060 h 608274"/>
                      <a:gd name="connsiteX33" fmla="*/ 292606 w 313668"/>
                      <a:gd name="connsiteY33" fmla="*/ 388447 h 608274"/>
                      <a:gd name="connsiteX34" fmla="*/ 283110 w 313668"/>
                      <a:gd name="connsiteY34" fmla="*/ 389920 h 608274"/>
                      <a:gd name="connsiteX35" fmla="*/ 254069 w 313668"/>
                      <a:gd name="connsiteY35" fmla="*/ 368931 h 608274"/>
                      <a:gd name="connsiteX36" fmla="*/ 245310 w 313668"/>
                      <a:gd name="connsiteY36" fmla="*/ 341867 h 608274"/>
                      <a:gd name="connsiteX37" fmla="*/ 245310 w 313668"/>
                      <a:gd name="connsiteY37" fmla="*/ 383108 h 608274"/>
                      <a:gd name="connsiteX38" fmla="*/ 245310 w 313668"/>
                      <a:gd name="connsiteY38" fmla="*/ 577436 h 608274"/>
                      <a:gd name="connsiteX39" fmla="*/ 214425 w 313668"/>
                      <a:gd name="connsiteY39" fmla="*/ 608274 h 608274"/>
                      <a:gd name="connsiteX40" fmla="*/ 183540 w 313668"/>
                      <a:gd name="connsiteY40" fmla="*/ 577436 h 608274"/>
                      <a:gd name="connsiteX41" fmla="*/ 183540 w 313668"/>
                      <a:gd name="connsiteY41" fmla="*/ 391301 h 608274"/>
                      <a:gd name="connsiteX42" fmla="*/ 191561 w 313668"/>
                      <a:gd name="connsiteY42" fmla="*/ 373074 h 608274"/>
                      <a:gd name="connsiteX43" fmla="*/ 184278 w 313668"/>
                      <a:gd name="connsiteY43" fmla="*/ 346102 h 608274"/>
                      <a:gd name="connsiteX44" fmla="*/ 181789 w 313668"/>
                      <a:gd name="connsiteY44" fmla="*/ 342788 h 608274"/>
                      <a:gd name="connsiteX45" fmla="*/ 197646 w 313668"/>
                      <a:gd name="connsiteY45" fmla="*/ 323825 h 608274"/>
                      <a:gd name="connsiteX46" fmla="*/ 201242 w 313668"/>
                      <a:gd name="connsiteY46" fmla="*/ 310661 h 608274"/>
                      <a:gd name="connsiteX47" fmla="*/ 185015 w 313668"/>
                      <a:gd name="connsiteY47" fmla="*/ 216396 h 608274"/>
                      <a:gd name="connsiteX48" fmla="*/ 182526 w 313668"/>
                      <a:gd name="connsiteY48" fmla="*/ 201760 h 608274"/>
                      <a:gd name="connsiteX49" fmla="*/ 179853 w 313668"/>
                      <a:gd name="connsiteY49" fmla="*/ 199550 h 608274"/>
                      <a:gd name="connsiteX50" fmla="*/ 162797 w 313668"/>
                      <a:gd name="connsiteY50" fmla="*/ 199550 h 608274"/>
                      <a:gd name="connsiteX51" fmla="*/ 160123 w 313668"/>
                      <a:gd name="connsiteY51" fmla="*/ 201760 h 608274"/>
                      <a:gd name="connsiteX52" fmla="*/ 157634 w 313668"/>
                      <a:gd name="connsiteY52" fmla="*/ 216396 h 608274"/>
                      <a:gd name="connsiteX53" fmla="*/ 144266 w 313668"/>
                      <a:gd name="connsiteY53" fmla="*/ 293999 h 608274"/>
                      <a:gd name="connsiteX54" fmla="*/ 138550 w 313668"/>
                      <a:gd name="connsiteY54" fmla="*/ 286450 h 608274"/>
                      <a:gd name="connsiteX55" fmla="*/ 119650 w 313668"/>
                      <a:gd name="connsiteY55" fmla="*/ 273747 h 608274"/>
                      <a:gd name="connsiteX56" fmla="*/ 119189 w 313668"/>
                      <a:gd name="connsiteY56" fmla="*/ 275127 h 608274"/>
                      <a:gd name="connsiteX57" fmla="*/ 88580 w 313668"/>
                      <a:gd name="connsiteY57" fmla="*/ 368931 h 608274"/>
                      <a:gd name="connsiteX58" fmla="*/ 50135 w 313668"/>
                      <a:gd name="connsiteY58" fmla="*/ 388447 h 608274"/>
                      <a:gd name="connsiteX59" fmla="*/ 30590 w 313668"/>
                      <a:gd name="connsiteY59" fmla="*/ 350060 h 608274"/>
                      <a:gd name="connsiteX60" fmla="*/ 61107 w 313668"/>
                      <a:gd name="connsiteY60" fmla="*/ 256256 h 608274"/>
                      <a:gd name="connsiteX61" fmla="*/ 82403 w 313668"/>
                      <a:gd name="connsiteY61" fmla="*/ 190989 h 608274"/>
                      <a:gd name="connsiteX62" fmla="*/ 131358 w 313668"/>
                      <a:gd name="connsiteY62" fmla="*/ 155456 h 608274"/>
                      <a:gd name="connsiteX63" fmla="*/ 171336 w 313668"/>
                      <a:gd name="connsiteY63" fmla="*/ 0 h 608274"/>
                      <a:gd name="connsiteX64" fmla="*/ 238585 w 313668"/>
                      <a:gd name="connsiteY64" fmla="*/ 67108 h 608274"/>
                      <a:gd name="connsiteX65" fmla="*/ 171336 w 313668"/>
                      <a:gd name="connsiteY65" fmla="*/ 134216 h 608274"/>
                      <a:gd name="connsiteX66" fmla="*/ 104087 w 313668"/>
                      <a:gd name="connsiteY66" fmla="*/ 67108 h 608274"/>
                      <a:gd name="connsiteX67" fmla="*/ 171336 w 313668"/>
                      <a:gd name="connsiteY67" fmla="*/ 0 h 6082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</a:cxnLst>
                    <a:rect l="l" t="t" r="r" b="b"/>
                    <a:pathLst>
                      <a:path w="313668" h="608274">
                        <a:moveTo>
                          <a:pt x="159127" y="411396"/>
                        </a:moveTo>
                        <a:lnTo>
                          <a:pt x="159127" y="577440"/>
                        </a:lnTo>
                        <a:cubicBezTo>
                          <a:pt x="159127" y="594468"/>
                          <a:pt x="145391" y="608274"/>
                          <a:pt x="128336" y="608274"/>
                        </a:cubicBezTo>
                        <a:cubicBezTo>
                          <a:pt x="111282" y="608274"/>
                          <a:pt x="97453" y="594468"/>
                          <a:pt x="97453" y="577440"/>
                        </a:cubicBezTo>
                        <a:lnTo>
                          <a:pt x="97453" y="458706"/>
                        </a:lnTo>
                        <a:close/>
                        <a:moveTo>
                          <a:pt x="128221" y="306395"/>
                        </a:moveTo>
                        <a:lnTo>
                          <a:pt x="168122" y="358410"/>
                        </a:lnTo>
                        <a:cubicBezTo>
                          <a:pt x="170794" y="361816"/>
                          <a:pt x="171900" y="366143"/>
                          <a:pt x="171347" y="370377"/>
                        </a:cubicBezTo>
                        <a:cubicBezTo>
                          <a:pt x="170794" y="374612"/>
                          <a:pt x="168583" y="378479"/>
                          <a:pt x="165173" y="381149"/>
                        </a:cubicBezTo>
                        <a:lnTo>
                          <a:pt x="71917" y="452588"/>
                        </a:lnTo>
                        <a:cubicBezTo>
                          <a:pt x="68968" y="454889"/>
                          <a:pt x="65467" y="455994"/>
                          <a:pt x="62057" y="455994"/>
                        </a:cubicBezTo>
                        <a:cubicBezTo>
                          <a:pt x="57173" y="455994"/>
                          <a:pt x="52289" y="453785"/>
                          <a:pt x="49156" y="449642"/>
                        </a:cubicBezTo>
                        <a:lnTo>
                          <a:pt x="3357" y="390079"/>
                        </a:lnTo>
                        <a:cubicBezTo>
                          <a:pt x="777" y="386672"/>
                          <a:pt x="-421" y="382345"/>
                          <a:pt x="132" y="378019"/>
                        </a:cubicBezTo>
                        <a:cubicBezTo>
                          <a:pt x="685" y="373784"/>
                          <a:pt x="2988" y="369917"/>
                          <a:pt x="6398" y="367339"/>
                        </a:cubicBezTo>
                        <a:lnTo>
                          <a:pt x="9162" y="365130"/>
                        </a:lnTo>
                        <a:cubicBezTo>
                          <a:pt x="11374" y="384279"/>
                          <a:pt x="24367" y="401402"/>
                          <a:pt x="43904" y="407754"/>
                        </a:cubicBezTo>
                        <a:cubicBezTo>
                          <a:pt x="49064" y="409411"/>
                          <a:pt x="54409" y="410240"/>
                          <a:pt x="59661" y="410240"/>
                        </a:cubicBezTo>
                        <a:cubicBezTo>
                          <a:pt x="81040" y="410240"/>
                          <a:pt x="100945" y="396615"/>
                          <a:pt x="107948" y="375165"/>
                        </a:cubicBezTo>
                        <a:lnTo>
                          <a:pt x="126009" y="319836"/>
                        </a:lnTo>
                        <a:cubicBezTo>
                          <a:pt x="127484" y="315325"/>
                          <a:pt x="128037" y="310906"/>
                          <a:pt x="128221" y="306395"/>
                        </a:cubicBezTo>
                        <a:close/>
                        <a:moveTo>
                          <a:pt x="163534" y="163741"/>
                        </a:moveTo>
                        <a:cubicBezTo>
                          <a:pt x="162059" y="163741"/>
                          <a:pt x="160861" y="164938"/>
                          <a:pt x="160861" y="166411"/>
                        </a:cubicBezTo>
                        <a:lnTo>
                          <a:pt x="160861" y="185098"/>
                        </a:lnTo>
                        <a:cubicBezTo>
                          <a:pt x="160861" y="186571"/>
                          <a:pt x="162059" y="187767"/>
                          <a:pt x="163534" y="187767"/>
                        </a:cubicBezTo>
                        <a:lnTo>
                          <a:pt x="179484" y="187767"/>
                        </a:lnTo>
                        <a:cubicBezTo>
                          <a:pt x="180959" y="187767"/>
                          <a:pt x="182157" y="186571"/>
                          <a:pt x="182157" y="185098"/>
                        </a:cubicBezTo>
                        <a:lnTo>
                          <a:pt x="182157" y="166411"/>
                        </a:lnTo>
                        <a:cubicBezTo>
                          <a:pt x="182157" y="164938"/>
                          <a:pt x="180959" y="163741"/>
                          <a:pt x="179484" y="163741"/>
                        </a:cubicBezTo>
                        <a:close/>
                        <a:moveTo>
                          <a:pt x="131358" y="155456"/>
                        </a:moveTo>
                        <a:lnTo>
                          <a:pt x="211383" y="155456"/>
                        </a:lnTo>
                        <a:cubicBezTo>
                          <a:pt x="233694" y="155456"/>
                          <a:pt x="253424" y="169725"/>
                          <a:pt x="260338" y="190989"/>
                        </a:cubicBezTo>
                        <a:lnTo>
                          <a:pt x="312151" y="350060"/>
                        </a:lnTo>
                        <a:cubicBezTo>
                          <a:pt x="317406" y="366078"/>
                          <a:pt x="308556" y="383292"/>
                          <a:pt x="292606" y="388447"/>
                        </a:cubicBezTo>
                        <a:cubicBezTo>
                          <a:pt x="289471" y="389460"/>
                          <a:pt x="286245" y="389920"/>
                          <a:pt x="283110" y="389920"/>
                        </a:cubicBezTo>
                        <a:cubicBezTo>
                          <a:pt x="270295" y="389920"/>
                          <a:pt x="258310" y="381819"/>
                          <a:pt x="254069" y="368931"/>
                        </a:cubicBezTo>
                        <a:lnTo>
                          <a:pt x="245310" y="341867"/>
                        </a:lnTo>
                        <a:lnTo>
                          <a:pt x="245310" y="383108"/>
                        </a:lnTo>
                        <a:lnTo>
                          <a:pt x="245310" y="577436"/>
                        </a:lnTo>
                        <a:cubicBezTo>
                          <a:pt x="245310" y="594466"/>
                          <a:pt x="231481" y="608274"/>
                          <a:pt x="214425" y="608274"/>
                        </a:cubicBezTo>
                        <a:cubicBezTo>
                          <a:pt x="197369" y="608274"/>
                          <a:pt x="183540" y="594466"/>
                          <a:pt x="183540" y="577436"/>
                        </a:cubicBezTo>
                        <a:lnTo>
                          <a:pt x="183540" y="391301"/>
                        </a:lnTo>
                        <a:cubicBezTo>
                          <a:pt x="187873" y="386146"/>
                          <a:pt x="190639" y="379886"/>
                          <a:pt x="191561" y="373074"/>
                        </a:cubicBezTo>
                        <a:cubicBezTo>
                          <a:pt x="192852" y="363316"/>
                          <a:pt x="190271" y="353742"/>
                          <a:pt x="184278" y="346102"/>
                        </a:cubicBezTo>
                        <a:lnTo>
                          <a:pt x="181789" y="342788"/>
                        </a:lnTo>
                        <a:lnTo>
                          <a:pt x="197646" y="323825"/>
                        </a:lnTo>
                        <a:cubicBezTo>
                          <a:pt x="200688" y="320142"/>
                          <a:pt x="201979" y="315355"/>
                          <a:pt x="201242" y="310661"/>
                        </a:cubicBezTo>
                        <a:lnTo>
                          <a:pt x="185015" y="216396"/>
                        </a:lnTo>
                        <a:lnTo>
                          <a:pt x="182526" y="201760"/>
                        </a:lnTo>
                        <a:cubicBezTo>
                          <a:pt x="182250" y="200471"/>
                          <a:pt x="181143" y="199550"/>
                          <a:pt x="179853" y="199550"/>
                        </a:cubicBezTo>
                        <a:lnTo>
                          <a:pt x="162797" y="199550"/>
                        </a:lnTo>
                        <a:cubicBezTo>
                          <a:pt x="161506" y="199550"/>
                          <a:pt x="160400" y="200471"/>
                          <a:pt x="160123" y="201760"/>
                        </a:cubicBezTo>
                        <a:lnTo>
                          <a:pt x="157634" y="216396"/>
                        </a:lnTo>
                        <a:lnTo>
                          <a:pt x="144266" y="293999"/>
                        </a:lnTo>
                        <a:lnTo>
                          <a:pt x="138550" y="286450"/>
                        </a:lnTo>
                        <a:cubicBezTo>
                          <a:pt x="133663" y="280191"/>
                          <a:pt x="127025" y="275864"/>
                          <a:pt x="119650" y="273747"/>
                        </a:cubicBezTo>
                        <a:lnTo>
                          <a:pt x="119189" y="275127"/>
                        </a:lnTo>
                        <a:lnTo>
                          <a:pt x="88580" y="368931"/>
                        </a:lnTo>
                        <a:cubicBezTo>
                          <a:pt x="83418" y="384949"/>
                          <a:pt x="66177" y="393694"/>
                          <a:pt x="50135" y="388447"/>
                        </a:cubicBezTo>
                        <a:cubicBezTo>
                          <a:pt x="34094" y="383200"/>
                          <a:pt x="25335" y="366078"/>
                          <a:pt x="30590" y="350060"/>
                        </a:cubicBezTo>
                        <a:lnTo>
                          <a:pt x="61107" y="256256"/>
                        </a:lnTo>
                        <a:lnTo>
                          <a:pt x="82403" y="190989"/>
                        </a:lnTo>
                        <a:cubicBezTo>
                          <a:pt x="89318" y="169725"/>
                          <a:pt x="108955" y="155456"/>
                          <a:pt x="131358" y="155456"/>
                        </a:cubicBezTo>
                        <a:close/>
                        <a:moveTo>
                          <a:pt x="171336" y="0"/>
                        </a:moveTo>
                        <a:cubicBezTo>
                          <a:pt x="208477" y="0"/>
                          <a:pt x="238585" y="30045"/>
                          <a:pt x="238585" y="67108"/>
                        </a:cubicBezTo>
                        <a:cubicBezTo>
                          <a:pt x="238585" y="104171"/>
                          <a:pt x="208477" y="134216"/>
                          <a:pt x="171336" y="134216"/>
                        </a:cubicBezTo>
                        <a:cubicBezTo>
                          <a:pt x="134195" y="134216"/>
                          <a:pt x="104087" y="104171"/>
                          <a:pt x="104087" y="67108"/>
                        </a:cubicBezTo>
                        <a:cubicBezTo>
                          <a:pt x="104087" y="30045"/>
                          <a:pt x="134195" y="0"/>
                          <a:pt x="171336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</p:grpSp>
          </p:grp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6E31B049-0389-4BB0-9B6A-F29D9F482E7E}"/>
                </a:ext>
              </a:extLst>
            </p:cNvPr>
            <p:cNvGrpSpPr/>
            <p:nvPr/>
          </p:nvGrpSpPr>
          <p:grpSpPr>
            <a:xfrm>
              <a:off x="4996686" y="1341500"/>
              <a:ext cx="2140566" cy="2297041"/>
              <a:chOff x="4405206" y="1341500"/>
              <a:chExt cx="2140566" cy="2297041"/>
            </a:xfrm>
          </p:grpSpPr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C391635A-8639-4175-A25F-C085F9F400B1}"/>
                  </a:ext>
                </a:extLst>
              </p:cNvPr>
              <p:cNvGrpSpPr/>
              <p:nvPr/>
            </p:nvGrpSpPr>
            <p:grpSpPr>
              <a:xfrm>
                <a:off x="4405206" y="1341500"/>
                <a:ext cx="2140566" cy="990220"/>
                <a:chOff x="4405206" y="1341500"/>
                <a:chExt cx="2140566" cy="990220"/>
              </a:xfrm>
            </p:grpSpPr>
            <p:sp>
              <p:nvSpPr>
                <p:cNvPr id="32" name="矩形 31">
                  <a:extLst>
                    <a:ext uri="{FF2B5EF4-FFF2-40B4-BE49-F238E27FC236}">
                      <a16:creationId xmlns:a16="http://schemas.microsoft.com/office/drawing/2014/main" id="{9D48312E-15A1-4509-B654-EB5D9562020E}"/>
                    </a:ext>
                  </a:extLst>
                </p:cNvPr>
                <p:cNvSpPr/>
                <p:nvPr/>
              </p:nvSpPr>
              <p:spPr bwMode="auto">
                <a:xfrm>
                  <a:off x="4405206" y="1692639"/>
                  <a:ext cx="2140566" cy="6390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rIns="90000" anchor="t" anchorCtr="0">
                  <a:norm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…… 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文本框 32">
                  <a:extLst>
                    <a:ext uri="{FF2B5EF4-FFF2-40B4-BE49-F238E27FC236}">
                      <a16:creationId xmlns:a16="http://schemas.microsoft.com/office/drawing/2014/main" id="{E9B0E856-86C8-446B-A7A4-02A2618008EB}"/>
                    </a:ext>
                  </a:extLst>
                </p:cNvPr>
                <p:cNvSpPr txBox="1"/>
                <p:nvPr/>
              </p:nvSpPr>
              <p:spPr bwMode="auto">
                <a:xfrm>
                  <a:off x="4405206" y="1341500"/>
                  <a:ext cx="2140566" cy="3511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rIns="90000">
                  <a:normAutofit lnSpcReduction="10000"/>
                </a:bodyPr>
                <a:lstStyle/>
                <a:p>
                  <a:pPr algn="ctr"/>
                  <a:r>
                    <a:rPr lang="zh-CN" altLang="en-US" b="1" dirty="0">
                      <a:cs typeface="+mn-ea"/>
                      <a:sym typeface="+mn-lt"/>
                    </a:rPr>
                    <a:t>彻底烧熟煮透</a:t>
                  </a:r>
                </a:p>
              </p:txBody>
            </p:sp>
          </p:grpSp>
          <p:grpSp>
            <p:nvGrpSpPr>
              <p:cNvPr id="27" name="组合 26">
                <a:extLst>
                  <a:ext uri="{FF2B5EF4-FFF2-40B4-BE49-F238E27FC236}">
                    <a16:creationId xmlns:a16="http://schemas.microsoft.com/office/drawing/2014/main" id="{6A5A6483-F95D-4493-BA46-758B34D0E36C}"/>
                  </a:ext>
                </a:extLst>
              </p:cNvPr>
              <p:cNvGrpSpPr/>
              <p:nvPr/>
            </p:nvGrpSpPr>
            <p:grpSpPr>
              <a:xfrm>
                <a:off x="5236563" y="2331720"/>
                <a:ext cx="477852" cy="1306821"/>
                <a:chOff x="5236563" y="2331720"/>
                <a:chExt cx="477852" cy="1306821"/>
              </a:xfrm>
            </p:grpSpPr>
            <p:cxnSp>
              <p:nvCxnSpPr>
                <p:cNvPr id="28" name="直接连接符 27">
                  <a:extLst>
                    <a:ext uri="{FF2B5EF4-FFF2-40B4-BE49-F238E27FC236}">
                      <a16:creationId xmlns:a16="http://schemas.microsoft.com/office/drawing/2014/main" id="{852DF401-15DE-4B85-9186-FA942EEB2048}"/>
                    </a:ext>
                  </a:extLst>
                </p:cNvPr>
                <p:cNvCxnSpPr>
                  <a:cxnSpLocks/>
                  <a:stCxn id="30" idx="0"/>
                  <a:endCxn id="32" idx="2"/>
                </p:cNvCxnSpPr>
                <p:nvPr/>
              </p:nvCxnSpPr>
              <p:spPr>
                <a:xfrm flipV="1">
                  <a:off x="5475489" y="2331720"/>
                  <a:ext cx="0" cy="828969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85000"/>
                    </a:schemeClr>
                  </a:solidFill>
                  <a:round/>
                  <a:headEnd type="oval"/>
                  <a:tail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9" name="组合 28">
                  <a:extLst>
                    <a:ext uri="{FF2B5EF4-FFF2-40B4-BE49-F238E27FC236}">
                      <a16:creationId xmlns:a16="http://schemas.microsoft.com/office/drawing/2014/main" id="{F529B9DA-ED36-4E97-9582-9622E8AF311E}"/>
                    </a:ext>
                  </a:extLst>
                </p:cNvPr>
                <p:cNvGrpSpPr/>
                <p:nvPr/>
              </p:nvGrpSpPr>
              <p:grpSpPr>
                <a:xfrm>
                  <a:off x="5236563" y="3160689"/>
                  <a:ext cx="477852" cy="477852"/>
                  <a:chOff x="8869623" y="2257176"/>
                  <a:chExt cx="634692" cy="634692"/>
                </a:xfrm>
              </p:grpSpPr>
              <p:sp>
                <p:nvSpPr>
                  <p:cNvPr id="30" name="椭圆 29">
                    <a:extLst>
                      <a:ext uri="{FF2B5EF4-FFF2-40B4-BE49-F238E27FC236}">
                        <a16:creationId xmlns:a16="http://schemas.microsoft.com/office/drawing/2014/main" id="{1131749A-CCA2-45E9-9E68-4175B63E9CC8}"/>
                      </a:ext>
                    </a:extLst>
                  </p:cNvPr>
                  <p:cNvSpPr/>
                  <p:nvPr/>
                </p:nvSpPr>
                <p:spPr>
                  <a:xfrm>
                    <a:off x="8869623" y="2257176"/>
                    <a:ext cx="634692" cy="634692"/>
                  </a:xfrm>
                  <a:prstGeom prst="ellipse">
                    <a:avLst/>
                  </a:prstGeom>
                  <a:solidFill>
                    <a:schemeClr val="bg1"/>
                  </a:solidFill>
                  <a:ln w="38100" cmpd="thickThin">
                    <a:solidFill>
                      <a:schemeClr val="accent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31" name="任意多边形: 形状 30">
                    <a:extLst>
                      <a:ext uri="{FF2B5EF4-FFF2-40B4-BE49-F238E27FC236}">
                        <a16:creationId xmlns:a16="http://schemas.microsoft.com/office/drawing/2014/main" id="{FDD22274-1FD4-4BEE-B09A-48F0DD896E4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085590" y="2371861"/>
                    <a:ext cx="202756" cy="393188"/>
                  </a:xfrm>
                  <a:custGeom>
                    <a:avLst/>
                    <a:gdLst>
                      <a:gd name="connsiteX0" fmla="*/ 159127 w 313668"/>
                      <a:gd name="connsiteY0" fmla="*/ 411396 h 608274"/>
                      <a:gd name="connsiteX1" fmla="*/ 159127 w 313668"/>
                      <a:gd name="connsiteY1" fmla="*/ 577440 h 608274"/>
                      <a:gd name="connsiteX2" fmla="*/ 128336 w 313668"/>
                      <a:gd name="connsiteY2" fmla="*/ 608274 h 608274"/>
                      <a:gd name="connsiteX3" fmla="*/ 97453 w 313668"/>
                      <a:gd name="connsiteY3" fmla="*/ 577440 h 608274"/>
                      <a:gd name="connsiteX4" fmla="*/ 97453 w 313668"/>
                      <a:gd name="connsiteY4" fmla="*/ 458706 h 608274"/>
                      <a:gd name="connsiteX5" fmla="*/ 128221 w 313668"/>
                      <a:gd name="connsiteY5" fmla="*/ 306395 h 608274"/>
                      <a:gd name="connsiteX6" fmla="*/ 168122 w 313668"/>
                      <a:gd name="connsiteY6" fmla="*/ 358410 h 608274"/>
                      <a:gd name="connsiteX7" fmla="*/ 171347 w 313668"/>
                      <a:gd name="connsiteY7" fmla="*/ 370377 h 608274"/>
                      <a:gd name="connsiteX8" fmla="*/ 165173 w 313668"/>
                      <a:gd name="connsiteY8" fmla="*/ 381149 h 608274"/>
                      <a:gd name="connsiteX9" fmla="*/ 71917 w 313668"/>
                      <a:gd name="connsiteY9" fmla="*/ 452588 h 608274"/>
                      <a:gd name="connsiteX10" fmla="*/ 62057 w 313668"/>
                      <a:gd name="connsiteY10" fmla="*/ 455994 h 608274"/>
                      <a:gd name="connsiteX11" fmla="*/ 49156 w 313668"/>
                      <a:gd name="connsiteY11" fmla="*/ 449642 h 608274"/>
                      <a:gd name="connsiteX12" fmla="*/ 3357 w 313668"/>
                      <a:gd name="connsiteY12" fmla="*/ 390079 h 608274"/>
                      <a:gd name="connsiteX13" fmla="*/ 132 w 313668"/>
                      <a:gd name="connsiteY13" fmla="*/ 378019 h 608274"/>
                      <a:gd name="connsiteX14" fmla="*/ 6398 w 313668"/>
                      <a:gd name="connsiteY14" fmla="*/ 367339 h 608274"/>
                      <a:gd name="connsiteX15" fmla="*/ 9162 w 313668"/>
                      <a:gd name="connsiteY15" fmla="*/ 365130 h 608274"/>
                      <a:gd name="connsiteX16" fmla="*/ 43904 w 313668"/>
                      <a:gd name="connsiteY16" fmla="*/ 407754 h 608274"/>
                      <a:gd name="connsiteX17" fmla="*/ 59661 w 313668"/>
                      <a:gd name="connsiteY17" fmla="*/ 410240 h 608274"/>
                      <a:gd name="connsiteX18" fmla="*/ 107948 w 313668"/>
                      <a:gd name="connsiteY18" fmla="*/ 375165 h 608274"/>
                      <a:gd name="connsiteX19" fmla="*/ 126009 w 313668"/>
                      <a:gd name="connsiteY19" fmla="*/ 319836 h 608274"/>
                      <a:gd name="connsiteX20" fmla="*/ 128221 w 313668"/>
                      <a:gd name="connsiteY20" fmla="*/ 306395 h 608274"/>
                      <a:gd name="connsiteX21" fmla="*/ 163534 w 313668"/>
                      <a:gd name="connsiteY21" fmla="*/ 163741 h 608274"/>
                      <a:gd name="connsiteX22" fmla="*/ 160861 w 313668"/>
                      <a:gd name="connsiteY22" fmla="*/ 166411 h 608274"/>
                      <a:gd name="connsiteX23" fmla="*/ 160861 w 313668"/>
                      <a:gd name="connsiteY23" fmla="*/ 185098 h 608274"/>
                      <a:gd name="connsiteX24" fmla="*/ 163534 w 313668"/>
                      <a:gd name="connsiteY24" fmla="*/ 187767 h 608274"/>
                      <a:gd name="connsiteX25" fmla="*/ 179484 w 313668"/>
                      <a:gd name="connsiteY25" fmla="*/ 187767 h 608274"/>
                      <a:gd name="connsiteX26" fmla="*/ 182157 w 313668"/>
                      <a:gd name="connsiteY26" fmla="*/ 185098 h 608274"/>
                      <a:gd name="connsiteX27" fmla="*/ 182157 w 313668"/>
                      <a:gd name="connsiteY27" fmla="*/ 166411 h 608274"/>
                      <a:gd name="connsiteX28" fmla="*/ 179484 w 313668"/>
                      <a:gd name="connsiteY28" fmla="*/ 163741 h 608274"/>
                      <a:gd name="connsiteX29" fmla="*/ 131358 w 313668"/>
                      <a:gd name="connsiteY29" fmla="*/ 155456 h 608274"/>
                      <a:gd name="connsiteX30" fmla="*/ 211383 w 313668"/>
                      <a:gd name="connsiteY30" fmla="*/ 155456 h 608274"/>
                      <a:gd name="connsiteX31" fmla="*/ 260338 w 313668"/>
                      <a:gd name="connsiteY31" fmla="*/ 190989 h 608274"/>
                      <a:gd name="connsiteX32" fmla="*/ 312151 w 313668"/>
                      <a:gd name="connsiteY32" fmla="*/ 350060 h 608274"/>
                      <a:gd name="connsiteX33" fmla="*/ 292606 w 313668"/>
                      <a:gd name="connsiteY33" fmla="*/ 388447 h 608274"/>
                      <a:gd name="connsiteX34" fmla="*/ 283110 w 313668"/>
                      <a:gd name="connsiteY34" fmla="*/ 389920 h 608274"/>
                      <a:gd name="connsiteX35" fmla="*/ 254069 w 313668"/>
                      <a:gd name="connsiteY35" fmla="*/ 368931 h 608274"/>
                      <a:gd name="connsiteX36" fmla="*/ 245310 w 313668"/>
                      <a:gd name="connsiteY36" fmla="*/ 341867 h 608274"/>
                      <a:gd name="connsiteX37" fmla="*/ 245310 w 313668"/>
                      <a:gd name="connsiteY37" fmla="*/ 383108 h 608274"/>
                      <a:gd name="connsiteX38" fmla="*/ 245310 w 313668"/>
                      <a:gd name="connsiteY38" fmla="*/ 577436 h 608274"/>
                      <a:gd name="connsiteX39" fmla="*/ 214425 w 313668"/>
                      <a:gd name="connsiteY39" fmla="*/ 608274 h 608274"/>
                      <a:gd name="connsiteX40" fmla="*/ 183540 w 313668"/>
                      <a:gd name="connsiteY40" fmla="*/ 577436 h 608274"/>
                      <a:gd name="connsiteX41" fmla="*/ 183540 w 313668"/>
                      <a:gd name="connsiteY41" fmla="*/ 391301 h 608274"/>
                      <a:gd name="connsiteX42" fmla="*/ 191561 w 313668"/>
                      <a:gd name="connsiteY42" fmla="*/ 373074 h 608274"/>
                      <a:gd name="connsiteX43" fmla="*/ 184278 w 313668"/>
                      <a:gd name="connsiteY43" fmla="*/ 346102 h 608274"/>
                      <a:gd name="connsiteX44" fmla="*/ 181789 w 313668"/>
                      <a:gd name="connsiteY44" fmla="*/ 342788 h 608274"/>
                      <a:gd name="connsiteX45" fmla="*/ 197646 w 313668"/>
                      <a:gd name="connsiteY45" fmla="*/ 323825 h 608274"/>
                      <a:gd name="connsiteX46" fmla="*/ 201242 w 313668"/>
                      <a:gd name="connsiteY46" fmla="*/ 310661 h 608274"/>
                      <a:gd name="connsiteX47" fmla="*/ 185015 w 313668"/>
                      <a:gd name="connsiteY47" fmla="*/ 216396 h 608274"/>
                      <a:gd name="connsiteX48" fmla="*/ 182526 w 313668"/>
                      <a:gd name="connsiteY48" fmla="*/ 201760 h 608274"/>
                      <a:gd name="connsiteX49" fmla="*/ 179853 w 313668"/>
                      <a:gd name="connsiteY49" fmla="*/ 199550 h 608274"/>
                      <a:gd name="connsiteX50" fmla="*/ 162797 w 313668"/>
                      <a:gd name="connsiteY50" fmla="*/ 199550 h 608274"/>
                      <a:gd name="connsiteX51" fmla="*/ 160123 w 313668"/>
                      <a:gd name="connsiteY51" fmla="*/ 201760 h 608274"/>
                      <a:gd name="connsiteX52" fmla="*/ 157634 w 313668"/>
                      <a:gd name="connsiteY52" fmla="*/ 216396 h 608274"/>
                      <a:gd name="connsiteX53" fmla="*/ 144266 w 313668"/>
                      <a:gd name="connsiteY53" fmla="*/ 293999 h 608274"/>
                      <a:gd name="connsiteX54" fmla="*/ 138550 w 313668"/>
                      <a:gd name="connsiteY54" fmla="*/ 286450 h 608274"/>
                      <a:gd name="connsiteX55" fmla="*/ 119650 w 313668"/>
                      <a:gd name="connsiteY55" fmla="*/ 273747 h 608274"/>
                      <a:gd name="connsiteX56" fmla="*/ 119189 w 313668"/>
                      <a:gd name="connsiteY56" fmla="*/ 275127 h 608274"/>
                      <a:gd name="connsiteX57" fmla="*/ 88580 w 313668"/>
                      <a:gd name="connsiteY57" fmla="*/ 368931 h 608274"/>
                      <a:gd name="connsiteX58" fmla="*/ 50135 w 313668"/>
                      <a:gd name="connsiteY58" fmla="*/ 388447 h 608274"/>
                      <a:gd name="connsiteX59" fmla="*/ 30590 w 313668"/>
                      <a:gd name="connsiteY59" fmla="*/ 350060 h 608274"/>
                      <a:gd name="connsiteX60" fmla="*/ 61107 w 313668"/>
                      <a:gd name="connsiteY60" fmla="*/ 256256 h 608274"/>
                      <a:gd name="connsiteX61" fmla="*/ 82403 w 313668"/>
                      <a:gd name="connsiteY61" fmla="*/ 190989 h 608274"/>
                      <a:gd name="connsiteX62" fmla="*/ 131358 w 313668"/>
                      <a:gd name="connsiteY62" fmla="*/ 155456 h 608274"/>
                      <a:gd name="connsiteX63" fmla="*/ 171336 w 313668"/>
                      <a:gd name="connsiteY63" fmla="*/ 0 h 608274"/>
                      <a:gd name="connsiteX64" fmla="*/ 238585 w 313668"/>
                      <a:gd name="connsiteY64" fmla="*/ 67108 h 608274"/>
                      <a:gd name="connsiteX65" fmla="*/ 171336 w 313668"/>
                      <a:gd name="connsiteY65" fmla="*/ 134216 h 608274"/>
                      <a:gd name="connsiteX66" fmla="*/ 104087 w 313668"/>
                      <a:gd name="connsiteY66" fmla="*/ 67108 h 608274"/>
                      <a:gd name="connsiteX67" fmla="*/ 171336 w 313668"/>
                      <a:gd name="connsiteY67" fmla="*/ 0 h 6082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</a:cxnLst>
                    <a:rect l="l" t="t" r="r" b="b"/>
                    <a:pathLst>
                      <a:path w="313668" h="608274">
                        <a:moveTo>
                          <a:pt x="159127" y="411396"/>
                        </a:moveTo>
                        <a:lnTo>
                          <a:pt x="159127" y="577440"/>
                        </a:lnTo>
                        <a:cubicBezTo>
                          <a:pt x="159127" y="594468"/>
                          <a:pt x="145391" y="608274"/>
                          <a:pt x="128336" y="608274"/>
                        </a:cubicBezTo>
                        <a:cubicBezTo>
                          <a:pt x="111282" y="608274"/>
                          <a:pt x="97453" y="594468"/>
                          <a:pt x="97453" y="577440"/>
                        </a:cubicBezTo>
                        <a:lnTo>
                          <a:pt x="97453" y="458706"/>
                        </a:lnTo>
                        <a:close/>
                        <a:moveTo>
                          <a:pt x="128221" y="306395"/>
                        </a:moveTo>
                        <a:lnTo>
                          <a:pt x="168122" y="358410"/>
                        </a:lnTo>
                        <a:cubicBezTo>
                          <a:pt x="170794" y="361816"/>
                          <a:pt x="171900" y="366143"/>
                          <a:pt x="171347" y="370377"/>
                        </a:cubicBezTo>
                        <a:cubicBezTo>
                          <a:pt x="170794" y="374612"/>
                          <a:pt x="168583" y="378479"/>
                          <a:pt x="165173" y="381149"/>
                        </a:cubicBezTo>
                        <a:lnTo>
                          <a:pt x="71917" y="452588"/>
                        </a:lnTo>
                        <a:cubicBezTo>
                          <a:pt x="68968" y="454889"/>
                          <a:pt x="65467" y="455994"/>
                          <a:pt x="62057" y="455994"/>
                        </a:cubicBezTo>
                        <a:cubicBezTo>
                          <a:pt x="57173" y="455994"/>
                          <a:pt x="52289" y="453785"/>
                          <a:pt x="49156" y="449642"/>
                        </a:cubicBezTo>
                        <a:lnTo>
                          <a:pt x="3357" y="390079"/>
                        </a:lnTo>
                        <a:cubicBezTo>
                          <a:pt x="777" y="386672"/>
                          <a:pt x="-421" y="382345"/>
                          <a:pt x="132" y="378019"/>
                        </a:cubicBezTo>
                        <a:cubicBezTo>
                          <a:pt x="685" y="373784"/>
                          <a:pt x="2988" y="369917"/>
                          <a:pt x="6398" y="367339"/>
                        </a:cubicBezTo>
                        <a:lnTo>
                          <a:pt x="9162" y="365130"/>
                        </a:lnTo>
                        <a:cubicBezTo>
                          <a:pt x="11374" y="384279"/>
                          <a:pt x="24367" y="401402"/>
                          <a:pt x="43904" y="407754"/>
                        </a:cubicBezTo>
                        <a:cubicBezTo>
                          <a:pt x="49064" y="409411"/>
                          <a:pt x="54409" y="410240"/>
                          <a:pt x="59661" y="410240"/>
                        </a:cubicBezTo>
                        <a:cubicBezTo>
                          <a:pt x="81040" y="410240"/>
                          <a:pt x="100945" y="396615"/>
                          <a:pt x="107948" y="375165"/>
                        </a:cubicBezTo>
                        <a:lnTo>
                          <a:pt x="126009" y="319836"/>
                        </a:lnTo>
                        <a:cubicBezTo>
                          <a:pt x="127484" y="315325"/>
                          <a:pt x="128037" y="310906"/>
                          <a:pt x="128221" y="306395"/>
                        </a:cubicBezTo>
                        <a:close/>
                        <a:moveTo>
                          <a:pt x="163534" y="163741"/>
                        </a:moveTo>
                        <a:cubicBezTo>
                          <a:pt x="162059" y="163741"/>
                          <a:pt x="160861" y="164938"/>
                          <a:pt x="160861" y="166411"/>
                        </a:cubicBezTo>
                        <a:lnTo>
                          <a:pt x="160861" y="185098"/>
                        </a:lnTo>
                        <a:cubicBezTo>
                          <a:pt x="160861" y="186571"/>
                          <a:pt x="162059" y="187767"/>
                          <a:pt x="163534" y="187767"/>
                        </a:cubicBezTo>
                        <a:lnTo>
                          <a:pt x="179484" y="187767"/>
                        </a:lnTo>
                        <a:cubicBezTo>
                          <a:pt x="180959" y="187767"/>
                          <a:pt x="182157" y="186571"/>
                          <a:pt x="182157" y="185098"/>
                        </a:cubicBezTo>
                        <a:lnTo>
                          <a:pt x="182157" y="166411"/>
                        </a:lnTo>
                        <a:cubicBezTo>
                          <a:pt x="182157" y="164938"/>
                          <a:pt x="180959" y="163741"/>
                          <a:pt x="179484" y="163741"/>
                        </a:cubicBezTo>
                        <a:close/>
                        <a:moveTo>
                          <a:pt x="131358" y="155456"/>
                        </a:moveTo>
                        <a:lnTo>
                          <a:pt x="211383" y="155456"/>
                        </a:lnTo>
                        <a:cubicBezTo>
                          <a:pt x="233694" y="155456"/>
                          <a:pt x="253424" y="169725"/>
                          <a:pt x="260338" y="190989"/>
                        </a:cubicBezTo>
                        <a:lnTo>
                          <a:pt x="312151" y="350060"/>
                        </a:lnTo>
                        <a:cubicBezTo>
                          <a:pt x="317406" y="366078"/>
                          <a:pt x="308556" y="383292"/>
                          <a:pt x="292606" y="388447"/>
                        </a:cubicBezTo>
                        <a:cubicBezTo>
                          <a:pt x="289471" y="389460"/>
                          <a:pt x="286245" y="389920"/>
                          <a:pt x="283110" y="389920"/>
                        </a:cubicBezTo>
                        <a:cubicBezTo>
                          <a:pt x="270295" y="389920"/>
                          <a:pt x="258310" y="381819"/>
                          <a:pt x="254069" y="368931"/>
                        </a:cubicBezTo>
                        <a:lnTo>
                          <a:pt x="245310" y="341867"/>
                        </a:lnTo>
                        <a:lnTo>
                          <a:pt x="245310" y="383108"/>
                        </a:lnTo>
                        <a:lnTo>
                          <a:pt x="245310" y="577436"/>
                        </a:lnTo>
                        <a:cubicBezTo>
                          <a:pt x="245310" y="594466"/>
                          <a:pt x="231481" y="608274"/>
                          <a:pt x="214425" y="608274"/>
                        </a:cubicBezTo>
                        <a:cubicBezTo>
                          <a:pt x="197369" y="608274"/>
                          <a:pt x="183540" y="594466"/>
                          <a:pt x="183540" y="577436"/>
                        </a:cubicBezTo>
                        <a:lnTo>
                          <a:pt x="183540" y="391301"/>
                        </a:lnTo>
                        <a:cubicBezTo>
                          <a:pt x="187873" y="386146"/>
                          <a:pt x="190639" y="379886"/>
                          <a:pt x="191561" y="373074"/>
                        </a:cubicBezTo>
                        <a:cubicBezTo>
                          <a:pt x="192852" y="363316"/>
                          <a:pt x="190271" y="353742"/>
                          <a:pt x="184278" y="346102"/>
                        </a:cubicBezTo>
                        <a:lnTo>
                          <a:pt x="181789" y="342788"/>
                        </a:lnTo>
                        <a:lnTo>
                          <a:pt x="197646" y="323825"/>
                        </a:lnTo>
                        <a:cubicBezTo>
                          <a:pt x="200688" y="320142"/>
                          <a:pt x="201979" y="315355"/>
                          <a:pt x="201242" y="310661"/>
                        </a:cubicBezTo>
                        <a:lnTo>
                          <a:pt x="185015" y="216396"/>
                        </a:lnTo>
                        <a:lnTo>
                          <a:pt x="182526" y="201760"/>
                        </a:lnTo>
                        <a:cubicBezTo>
                          <a:pt x="182250" y="200471"/>
                          <a:pt x="181143" y="199550"/>
                          <a:pt x="179853" y="199550"/>
                        </a:cubicBezTo>
                        <a:lnTo>
                          <a:pt x="162797" y="199550"/>
                        </a:lnTo>
                        <a:cubicBezTo>
                          <a:pt x="161506" y="199550"/>
                          <a:pt x="160400" y="200471"/>
                          <a:pt x="160123" y="201760"/>
                        </a:cubicBezTo>
                        <a:lnTo>
                          <a:pt x="157634" y="216396"/>
                        </a:lnTo>
                        <a:lnTo>
                          <a:pt x="144266" y="293999"/>
                        </a:lnTo>
                        <a:lnTo>
                          <a:pt x="138550" y="286450"/>
                        </a:lnTo>
                        <a:cubicBezTo>
                          <a:pt x="133663" y="280191"/>
                          <a:pt x="127025" y="275864"/>
                          <a:pt x="119650" y="273747"/>
                        </a:cubicBezTo>
                        <a:lnTo>
                          <a:pt x="119189" y="275127"/>
                        </a:lnTo>
                        <a:lnTo>
                          <a:pt x="88580" y="368931"/>
                        </a:lnTo>
                        <a:cubicBezTo>
                          <a:pt x="83418" y="384949"/>
                          <a:pt x="66177" y="393694"/>
                          <a:pt x="50135" y="388447"/>
                        </a:cubicBezTo>
                        <a:cubicBezTo>
                          <a:pt x="34094" y="383200"/>
                          <a:pt x="25335" y="366078"/>
                          <a:pt x="30590" y="350060"/>
                        </a:cubicBezTo>
                        <a:lnTo>
                          <a:pt x="61107" y="256256"/>
                        </a:lnTo>
                        <a:lnTo>
                          <a:pt x="82403" y="190989"/>
                        </a:lnTo>
                        <a:cubicBezTo>
                          <a:pt x="89318" y="169725"/>
                          <a:pt x="108955" y="155456"/>
                          <a:pt x="131358" y="155456"/>
                        </a:cubicBezTo>
                        <a:close/>
                        <a:moveTo>
                          <a:pt x="171336" y="0"/>
                        </a:moveTo>
                        <a:cubicBezTo>
                          <a:pt x="208477" y="0"/>
                          <a:pt x="238585" y="30045"/>
                          <a:pt x="238585" y="67108"/>
                        </a:cubicBezTo>
                        <a:cubicBezTo>
                          <a:pt x="238585" y="104171"/>
                          <a:pt x="208477" y="134216"/>
                          <a:pt x="171336" y="134216"/>
                        </a:cubicBezTo>
                        <a:cubicBezTo>
                          <a:pt x="134195" y="134216"/>
                          <a:pt x="104087" y="104171"/>
                          <a:pt x="104087" y="67108"/>
                        </a:cubicBezTo>
                        <a:cubicBezTo>
                          <a:pt x="104087" y="30045"/>
                          <a:pt x="134195" y="0"/>
                          <a:pt x="171336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</p:grpSp>
          </p:grp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DEF8ED2A-9AA0-4A08-A595-F99A0C2F8C02}"/>
                </a:ext>
              </a:extLst>
            </p:cNvPr>
            <p:cNvGrpSpPr/>
            <p:nvPr/>
          </p:nvGrpSpPr>
          <p:grpSpPr>
            <a:xfrm>
              <a:off x="6508752" y="3160689"/>
              <a:ext cx="2140566" cy="2130317"/>
              <a:chOff x="5610411" y="3160689"/>
              <a:chExt cx="2140566" cy="2130317"/>
            </a:xfrm>
          </p:grpSpPr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A5D264F6-5B8A-4733-B767-36BAB2750614}"/>
                  </a:ext>
                </a:extLst>
              </p:cNvPr>
              <p:cNvCxnSpPr>
                <a:cxnSpLocks/>
                <a:stCxn id="22" idx="4"/>
                <a:endCxn id="25" idx="0"/>
              </p:cNvCxnSpPr>
              <p:nvPr/>
            </p:nvCxnSpPr>
            <p:spPr>
              <a:xfrm>
                <a:off x="6680694" y="3638541"/>
                <a:ext cx="0" cy="662245"/>
              </a:xfrm>
              <a:prstGeom prst="line">
                <a:avLst/>
              </a:prstGeom>
              <a:ln w="3175" cap="rnd">
                <a:solidFill>
                  <a:schemeClr val="bg1">
                    <a:lumMod val="85000"/>
                  </a:schemeClr>
                </a:solidFill>
                <a:round/>
                <a:headEnd type="oval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CB534DAE-A8B1-4309-BF11-1A46E6E51560}"/>
                  </a:ext>
                </a:extLst>
              </p:cNvPr>
              <p:cNvGrpSpPr/>
              <p:nvPr/>
            </p:nvGrpSpPr>
            <p:grpSpPr>
              <a:xfrm>
                <a:off x="5610411" y="4300786"/>
                <a:ext cx="2140566" cy="990220"/>
                <a:chOff x="5610411" y="4300786"/>
                <a:chExt cx="2140566" cy="990220"/>
              </a:xfrm>
            </p:grpSpPr>
            <p:sp>
              <p:nvSpPr>
                <p:cNvPr id="24" name="矩形 23">
                  <a:extLst>
                    <a:ext uri="{FF2B5EF4-FFF2-40B4-BE49-F238E27FC236}">
                      <a16:creationId xmlns:a16="http://schemas.microsoft.com/office/drawing/2014/main" id="{F5ADC4C0-CA19-4101-9C10-12049C613A6A}"/>
                    </a:ext>
                  </a:extLst>
                </p:cNvPr>
                <p:cNvSpPr/>
                <p:nvPr/>
              </p:nvSpPr>
              <p:spPr bwMode="auto">
                <a:xfrm>
                  <a:off x="5610411" y="4651925"/>
                  <a:ext cx="2140566" cy="6390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rIns="90000" anchor="t" anchorCtr="0">
                  <a:norm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…… 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文本框 24">
                  <a:extLst>
                    <a:ext uri="{FF2B5EF4-FFF2-40B4-BE49-F238E27FC236}">
                      <a16:creationId xmlns:a16="http://schemas.microsoft.com/office/drawing/2014/main" id="{61288A25-0099-4322-BFA1-E660F17FCC40}"/>
                    </a:ext>
                  </a:extLst>
                </p:cNvPr>
                <p:cNvSpPr txBox="1"/>
                <p:nvPr/>
              </p:nvSpPr>
              <p:spPr bwMode="auto">
                <a:xfrm>
                  <a:off x="5610411" y="4300786"/>
                  <a:ext cx="2140566" cy="3511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rIns="90000">
                  <a:normAutofit lnSpcReduction="10000"/>
                </a:bodyPr>
                <a:lstStyle/>
                <a:p>
                  <a:pPr algn="ctr"/>
                  <a:r>
                    <a:rPr lang="zh-CN" altLang="en-US" b="1" dirty="0">
                      <a:cs typeface="+mn-ea"/>
                      <a:sym typeface="+mn-lt"/>
                    </a:rPr>
                    <a:t>保持食物的安全温度</a:t>
                  </a:r>
                </a:p>
              </p:txBody>
            </p:sp>
          </p:grpSp>
          <p:grpSp>
            <p:nvGrpSpPr>
              <p:cNvPr id="21" name="组合 20">
                <a:extLst>
                  <a:ext uri="{FF2B5EF4-FFF2-40B4-BE49-F238E27FC236}">
                    <a16:creationId xmlns:a16="http://schemas.microsoft.com/office/drawing/2014/main" id="{AC29E66C-61A2-4A6F-A2AE-EF11AA9CB438}"/>
                  </a:ext>
                </a:extLst>
              </p:cNvPr>
              <p:cNvGrpSpPr/>
              <p:nvPr/>
            </p:nvGrpSpPr>
            <p:grpSpPr>
              <a:xfrm>
                <a:off x="6441768" y="3160689"/>
                <a:ext cx="477852" cy="477852"/>
                <a:chOff x="8869623" y="2257176"/>
                <a:chExt cx="634692" cy="634692"/>
              </a:xfrm>
            </p:grpSpPr>
            <p:sp>
              <p:nvSpPr>
                <p:cNvPr id="22" name="椭圆 21">
                  <a:extLst>
                    <a:ext uri="{FF2B5EF4-FFF2-40B4-BE49-F238E27FC236}">
                      <a16:creationId xmlns:a16="http://schemas.microsoft.com/office/drawing/2014/main" id="{2EED402C-16AC-4308-8F43-8ED45EFA20CA}"/>
                    </a:ext>
                  </a:extLst>
                </p:cNvPr>
                <p:cNvSpPr/>
                <p:nvPr/>
              </p:nvSpPr>
              <p:spPr>
                <a:xfrm>
                  <a:off x="8869623" y="2257176"/>
                  <a:ext cx="634692" cy="634692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chemeClr val="bg1">
                      <a:lumMod val="6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3C12A6F3-B438-4FB3-BC63-F2B7823D4A5F}"/>
                    </a:ext>
                  </a:extLst>
                </p:cNvPr>
                <p:cNvSpPr/>
                <p:nvPr/>
              </p:nvSpPr>
              <p:spPr bwMode="auto">
                <a:xfrm>
                  <a:off x="9085590" y="2371861"/>
                  <a:ext cx="202756" cy="393188"/>
                </a:xfrm>
                <a:custGeom>
                  <a:avLst/>
                  <a:gdLst>
                    <a:gd name="connsiteX0" fmla="*/ 159127 w 313668"/>
                    <a:gd name="connsiteY0" fmla="*/ 411396 h 608274"/>
                    <a:gd name="connsiteX1" fmla="*/ 159127 w 313668"/>
                    <a:gd name="connsiteY1" fmla="*/ 577440 h 608274"/>
                    <a:gd name="connsiteX2" fmla="*/ 128336 w 313668"/>
                    <a:gd name="connsiteY2" fmla="*/ 608274 h 608274"/>
                    <a:gd name="connsiteX3" fmla="*/ 97453 w 313668"/>
                    <a:gd name="connsiteY3" fmla="*/ 577440 h 608274"/>
                    <a:gd name="connsiteX4" fmla="*/ 97453 w 313668"/>
                    <a:gd name="connsiteY4" fmla="*/ 458706 h 608274"/>
                    <a:gd name="connsiteX5" fmla="*/ 128221 w 313668"/>
                    <a:gd name="connsiteY5" fmla="*/ 306395 h 608274"/>
                    <a:gd name="connsiteX6" fmla="*/ 168122 w 313668"/>
                    <a:gd name="connsiteY6" fmla="*/ 358410 h 608274"/>
                    <a:gd name="connsiteX7" fmla="*/ 171347 w 313668"/>
                    <a:gd name="connsiteY7" fmla="*/ 370377 h 608274"/>
                    <a:gd name="connsiteX8" fmla="*/ 165173 w 313668"/>
                    <a:gd name="connsiteY8" fmla="*/ 381149 h 608274"/>
                    <a:gd name="connsiteX9" fmla="*/ 71917 w 313668"/>
                    <a:gd name="connsiteY9" fmla="*/ 452588 h 608274"/>
                    <a:gd name="connsiteX10" fmla="*/ 62057 w 313668"/>
                    <a:gd name="connsiteY10" fmla="*/ 455994 h 608274"/>
                    <a:gd name="connsiteX11" fmla="*/ 49156 w 313668"/>
                    <a:gd name="connsiteY11" fmla="*/ 449642 h 608274"/>
                    <a:gd name="connsiteX12" fmla="*/ 3357 w 313668"/>
                    <a:gd name="connsiteY12" fmla="*/ 390079 h 608274"/>
                    <a:gd name="connsiteX13" fmla="*/ 132 w 313668"/>
                    <a:gd name="connsiteY13" fmla="*/ 378019 h 608274"/>
                    <a:gd name="connsiteX14" fmla="*/ 6398 w 313668"/>
                    <a:gd name="connsiteY14" fmla="*/ 367339 h 608274"/>
                    <a:gd name="connsiteX15" fmla="*/ 9162 w 313668"/>
                    <a:gd name="connsiteY15" fmla="*/ 365130 h 608274"/>
                    <a:gd name="connsiteX16" fmla="*/ 43904 w 313668"/>
                    <a:gd name="connsiteY16" fmla="*/ 407754 h 608274"/>
                    <a:gd name="connsiteX17" fmla="*/ 59661 w 313668"/>
                    <a:gd name="connsiteY17" fmla="*/ 410240 h 608274"/>
                    <a:gd name="connsiteX18" fmla="*/ 107948 w 313668"/>
                    <a:gd name="connsiteY18" fmla="*/ 375165 h 608274"/>
                    <a:gd name="connsiteX19" fmla="*/ 126009 w 313668"/>
                    <a:gd name="connsiteY19" fmla="*/ 319836 h 608274"/>
                    <a:gd name="connsiteX20" fmla="*/ 128221 w 313668"/>
                    <a:gd name="connsiteY20" fmla="*/ 306395 h 608274"/>
                    <a:gd name="connsiteX21" fmla="*/ 163534 w 313668"/>
                    <a:gd name="connsiteY21" fmla="*/ 163741 h 608274"/>
                    <a:gd name="connsiteX22" fmla="*/ 160861 w 313668"/>
                    <a:gd name="connsiteY22" fmla="*/ 166411 h 608274"/>
                    <a:gd name="connsiteX23" fmla="*/ 160861 w 313668"/>
                    <a:gd name="connsiteY23" fmla="*/ 185098 h 608274"/>
                    <a:gd name="connsiteX24" fmla="*/ 163534 w 313668"/>
                    <a:gd name="connsiteY24" fmla="*/ 187767 h 608274"/>
                    <a:gd name="connsiteX25" fmla="*/ 179484 w 313668"/>
                    <a:gd name="connsiteY25" fmla="*/ 187767 h 608274"/>
                    <a:gd name="connsiteX26" fmla="*/ 182157 w 313668"/>
                    <a:gd name="connsiteY26" fmla="*/ 185098 h 608274"/>
                    <a:gd name="connsiteX27" fmla="*/ 182157 w 313668"/>
                    <a:gd name="connsiteY27" fmla="*/ 166411 h 608274"/>
                    <a:gd name="connsiteX28" fmla="*/ 179484 w 313668"/>
                    <a:gd name="connsiteY28" fmla="*/ 163741 h 608274"/>
                    <a:gd name="connsiteX29" fmla="*/ 131358 w 313668"/>
                    <a:gd name="connsiteY29" fmla="*/ 155456 h 608274"/>
                    <a:gd name="connsiteX30" fmla="*/ 211383 w 313668"/>
                    <a:gd name="connsiteY30" fmla="*/ 155456 h 608274"/>
                    <a:gd name="connsiteX31" fmla="*/ 260338 w 313668"/>
                    <a:gd name="connsiteY31" fmla="*/ 190989 h 608274"/>
                    <a:gd name="connsiteX32" fmla="*/ 312151 w 313668"/>
                    <a:gd name="connsiteY32" fmla="*/ 350060 h 608274"/>
                    <a:gd name="connsiteX33" fmla="*/ 292606 w 313668"/>
                    <a:gd name="connsiteY33" fmla="*/ 388447 h 608274"/>
                    <a:gd name="connsiteX34" fmla="*/ 283110 w 313668"/>
                    <a:gd name="connsiteY34" fmla="*/ 389920 h 608274"/>
                    <a:gd name="connsiteX35" fmla="*/ 254069 w 313668"/>
                    <a:gd name="connsiteY35" fmla="*/ 368931 h 608274"/>
                    <a:gd name="connsiteX36" fmla="*/ 245310 w 313668"/>
                    <a:gd name="connsiteY36" fmla="*/ 341867 h 608274"/>
                    <a:gd name="connsiteX37" fmla="*/ 245310 w 313668"/>
                    <a:gd name="connsiteY37" fmla="*/ 383108 h 608274"/>
                    <a:gd name="connsiteX38" fmla="*/ 245310 w 313668"/>
                    <a:gd name="connsiteY38" fmla="*/ 577436 h 608274"/>
                    <a:gd name="connsiteX39" fmla="*/ 214425 w 313668"/>
                    <a:gd name="connsiteY39" fmla="*/ 608274 h 608274"/>
                    <a:gd name="connsiteX40" fmla="*/ 183540 w 313668"/>
                    <a:gd name="connsiteY40" fmla="*/ 577436 h 608274"/>
                    <a:gd name="connsiteX41" fmla="*/ 183540 w 313668"/>
                    <a:gd name="connsiteY41" fmla="*/ 391301 h 608274"/>
                    <a:gd name="connsiteX42" fmla="*/ 191561 w 313668"/>
                    <a:gd name="connsiteY42" fmla="*/ 373074 h 608274"/>
                    <a:gd name="connsiteX43" fmla="*/ 184278 w 313668"/>
                    <a:gd name="connsiteY43" fmla="*/ 346102 h 608274"/>
                    <a:gd name="connsiteX44" fmla="*/ 181789 w 313668"/>
                    <a:gd name="connsiteY44" fmla="*/ 342788 h 608274"/>
                    <a:gd name="connsiteX45" fmla="*/ 197646 w 313668"/>
                    <a:gd name="connsiteY45" fmla="*/ 323825 h 608274"/>
                    <a:gd name="connsiteX46" fmla="*/ 201242 w 313668"/>
                    <a:gd name="connsiteY46" fmla="*/ 310661 h 608274"/>
                    <a:gd name="connsiteX47" fmla="*/ 185015 w 313668"/>
                    <a:gd name="connsiteY47" fmla="*/ 216396 h 608274"/>
                    <a:gd name="connsiteX48" fmla="*/ 182526 w 313668"/>
                    <a:gd name="connsiteY48" fmla="*/ 201760 h 608274"/>
                    <a:gd name="connsiteX49" fmla="*/ 179853 w 313668"/>
                    <a:gd name="connsiteY49" fmla="*/ 199550 h 608274"/>
                    <a:gd name="connsiteX50" fmla="*/ 162797 w 313668"/>
                    <a:gd name="connsiteY50" fmla="*/ 199550 h 608274"/>
                    <a:gd name="connsiteX51" fmla="*/ 160123 w 313668"/>
                    <a:gd name="connsiteY51" fmla="*/ 201760 h 608274"/>
                    <a:gd name="connsiteX52" fmla="*/ 157634 w 313668"/>
                    <a:gd name="connsiteY52" fmla="*/ 216396 h 608274"/>
                    <a:gd name="connsiteX53" fmla="*/ 144266 w 313668"/>
                    <a:gd name="connsiteY53" fmla="*/ 293999 h 608274"/>
                    <a:gd name="connsiteX54" fmla="*/ 138550 w 313668"/>
                    <a:gd name="connsiteY54" fmla="*/ 286450 h 608274"/>
                    <a:gd name="connsiteX55" fmla="*/ 119650 w 313668"/>
                    <a:gd name="connsiteY55" fmla="*/ 273747 h 608274"/>
                    <a:gd name="connsiteX56" fmla="*/ 119189 w 313668"/>
                    <a:gd name="connsiteY56" fmla="*/ 275127 h 608274"/>
                    <a:gd name="connsiteX57" fmla="*/ 88580 w 313668"/>
                    <a:gd name="connsiteY57" fmla="*/ 368931 h 608274"/>
                    <a:gd name="connsiteX58" fmla="*/ 50135 w 313668"/>
                    <a:gd name="connsiteY58" fmla="*/ 388447 h 608274"/>
                    <a:gd name="connsiteX59" fmla="*/ 30590 w 313668"/>
                    <a:gd name="connsiteY59" fmla="*/ 350060 h 608274"/>
                    <a:gd name="connsiteX60" fmla="*/ 61107 w 313668"/>
                    <a:gd name="connsiteY60" fmla="*/ 256256 h 608274"/>
                    <a:gd name="connsiteX61" fmla="*/ 82403 w 313668"/>
                    <a:gd name="connsiteY61" fmla="*/ 190989 h 608274"/>
                    <a:gd name="connsiteX62" fmla="*/ 131358 w 313668"/>
                    <a:gd name="connsiteY62" fmla="*/ 155456 h 608274"/>
                    <a:gd name="connsiteX63" fmla="*/ 171336 w 313668"/>
                    <a:gd name="connsiteY63" fmla="*/ 0 h 608274"/>
                    <a:gd name="connsiteX64" fmla="*/ 238585 w 313668"/>
                    <a:gd name="connsiteY64" fmla="*/ 67108 h 608274"/>
                    <a:gd name="connsiteX65" fmla="*/ 171336 w 313668"/>
                    <a:gd name="connsiteY65" fmla="*/ 134216 h 608274"/>
                    <a:gd name="connsiteX66" fmla="*/ 104087 w 313668"/>
                    <a:gd name="connsiteY66" fmla="*/ 67108 h 608274"/>
                    <a:gd name="connsiteX67" fmla="*/ 171336 w 313668"/>
                    <a:gd name="connsiteY67" fmla="*/ 0 h 608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313668" h="608274">
                      <a:moveTo>
                        <a:pt x="159127" y="411396"/>
                      </a:moveTo>
                      <a:lnTo>
                        <a:pt x="159127" y="577440"/>
                      </a:lnTo>
                      <a:cubicBezTo>
                        <a:pt x="159127" y="594468"/>
                        <a:pt x="145391" y="608274"/>
                        <a:pt x="128336" y="608274"/>
                      </a:cubicBezTo>
                      <a:cubicBezTo>
                        <a:pt x="111282" y="608274"/>
                        <a:pt x="97453" y="594468"/>
                        <a:pt x="97453" y="577440"/>
                      </a:cubicBezTo>
                      <a:lnTo>
                        <a:pt x="97453" y="458706"/>
                      </a:lnTo>
                      <a:close/>
                      <a:moveTo>
                        <a:pt x="128221" y="306395"/>
                      </a:moveTo>
                      <a:lnTo>
                        <a:pt x="168122" y="358410"/>
                      </a:lnTo>
                      <a:cubicBezTo>
                        <a:pt x="170794" y="361816"/>
                        <a:pt x="171900" y="366143"/>
                        <a:pt x="171347" y="370377"/>
                      </a:cubicBezTo>
                      <a:cubicBezTo>
                        <a:pt x="170794" y="374612"/>
                        <a:pt x="168583" y="378479"/>
                        <a:pt x="165173" y="381149"/>
                      </a:cubicBezTo>
                      <a:lnTo>
                        <a:pt x="71917" y="452588"/>
                      </a:lnTo>
                      <a:cubicBezTo>
                        <a:pt x="68968" y="454889"/>
                        <a:pt x="65467" y="455994"/>
                        <a:pt x="62057" y="455994"/>
                      </a:cubicBezTo>
                      <a:cubicBezTo>
                        <a:pt x="57173" y="455994"/>
                        <a:pt x="52289" y="453785"/>
                        <a:pt x="49156" y="449642"/>
                      </a:cubicBezTo>
                      <a:lnTo>
                        <a:pt x="3357" y="390079"/>
                      </a:lnTo>
                      <a:cubicBezTo>
                        <a:pt x="777" y="386672"/>
                        <a:pt x="-421" y="382345"/>
                        <a:pt x="132" y="378019"/>
                      </a:cubicBezTo>
                      <a:cubicBezTo>
                        <a:pt x="685" y="373784"/>
                        <a:pt x="2988" y="369917"/>
                        <a:pt x="6398" y="367339"/>
                      </a:cubicBezTo>
                      <a:lnTo>
                        <a:pt x="9162" y="365130"/>
                      </a:lnTo>
                      <a:cubicBezTo>
                        <a:pt x="11374" y="384279"/>
                        <a:pt x="24367" y="401402"/>
                        <a:pt x="43904" y="407754"/>
                      </a:cubicBezTo>
                      <a:cubicBezTo>
                        <a:pt x="49064" y="409411"/>
                        <a:pt x="54409" y="410240"/>
                        <a:pt x="59661" y="410240"/>
                      </a:cubicBezTo>
                      <a:cubicBezTo>
                        <a:pt x="81040" y="410240"/>
                        <a:pt x="100945" y="396615"/>
                        <a:pt x="107948" y="375165"/>
                      </a:cubicBezTo>
                      <a:lnTo>
                        <a:pt x="126009" y="319836"/>
                      </a:lnTo>
                      <a:cubicBezTo>
                        <a:pt x="127484" y="315325"/>
                        <a:pt x="128037" y="310906"/>
                        <a:pt x="128221" y="306395"/>
                      </a:cubicBezTo>
                      <a:close/>
                      <a:moveTo>
                        <a:pt x="163534" y="163741"/>
                      </a:moveTo>
                      <a:cubicBezTo>
                        <a:pt x="162059" y="163741"/>
                        <a:pt x="160861" y="164938"/>
                        <a:pt x="160861" y="166411"/>
                      </a:cubicBezTo>
                      <a:lnTo>
                        <a:pt x="160861" y="185098"/>
                      </a:lnTo>
                      <a:cubicBezTo>
                        <a:pt x="160861" y="186571"/>
                        <a:pt x="162059" y="187767"/>
                        <a:pt x="163534" y="187767"/>
                      </a:cubicBezTo>
                      <a:lnTo>
                        <a:pt x="179484" y="187767"/>
                      </a:lnTo>
                      <a:cubicBezTo>
                        <a:pt x="180959" y="187767"/>
                        <a:pt x="182157" y="186571"/>
                        <a:pt x="182157" y="185098"/>
                      </a:cubicBezTo>
                      <a:lnTo>
                        <a:pt x="182157" y="166411"/>
                      </a:lnTo>
                      <a:cubicBezTo>
                        <a:pt x="182157" y="164938"/>
                        <a:pt x="180959" y="163741"/>
                        <a:pt x="179484" y="163741"/>
                      </a:cubicBezTo>
                      <a:close/>
                      <a:moveTo>
                        <a:pt x="131358" y="155456"/>
                      </a:moveTo>
                      <a:lnTo>
                        <a:pt x="211383" y="155456"/>
                      </a:lnTo>
                      <a:cubicBezTo>
                        <a:pt x="233694" y="155456"/>
                        <a:pt x="253424" y="169725"/>
                        <a:pt x="260338" y="190989"/>
                      </a:cubicBezTo>
                      <a:lnTo>
                        <a:pt x="312151" y="350060"/>
                      </a:lnTo>
                      <a:cubicBezTo>
                        <a:pt x="317406" y="366078"/>
                        <a:pt x="308556" y="383292"/>
                        <a:pt x="292606" y="388447"/>
                      </a:cubicBezTo>
                      <a:cubicBezTo>
                        <a:pt x="289471" y="389460"/>
                        <a:pt x="286245" y="389920"/>
                        <a:pt x="283110" y="389920"/>
                      </a:cubicBezTo>
                      <a:cubicBezTo>
                        <a:pt x="270295" y="389920"/>
                        <a:pt x="258310" y="381819"/>
                        <a:pt x="254069" y="368931"/>
                      </a:cubicBezTo>
                      <a:lnTo>
                        <a:pt x="245310" y="341867"/>
                      </a:lnTo>
                      <a:lnTo>
                        <a:pt x="245310" y="383108"/>
                      </a:lnTo>
                      <a:lnTo>
                        <a:pt x="245310" y="577436"/>
                      </a:lnTo>
                      <a:cubicBezTo>
                        <a:pt x="245310" y="594466"/>
                        <a:pt x="231481" y="608274"/>
                        <a:pt x="214425" y="608274"/>
                      </a:cubicBezTo>
                      <a:cubicBezTo>
                        <a:pt x="197369" y="608274"/>
                        <a:pt x="183540" y="594466"/>
                        <a:pt x="183540" y="577436"/>
                      </a:cubicBezTo>
                      <a:lnTo>
                        <a:pt x="183540" y="391301"/>
                      </a:lnTo>
                      <a:cubicBezTo>
                        <a:pt x="187873" y="386146"/>
                        <a:pt x="190639" y="379886"/>
                        <a:pt x="191561" y="373074"/>
                      </a:cubicBezTo>
                      <a:cubicBezTo>
                        <a:pt x="192852" y="363316"/>
                        <a:pt x="190271" y="353742"/>
                        <a:pt x="184278" y="346102"/>
                      </a:cubicBezTo>
                      <a:lnTo>
                        <a:pt x="181789" y="342788"/>
                      </a:lnTo>
                      <a:lnTo>
                        <a:pt x="197646" y="323825"/>
                      </a:lnTo>
                      <a:cubicBezTo>
                        <a:pt x="200688" y="320142"/>
                        <a:pt x="201979" y="315355"/>
                        <a:pt x="201242" y="310661"/>
                      </a:cubicBezTo>
                      <a:lnTo>
                        <a:pt x="185015" y="216396"/>
                      </a:lnTo>
                      <a:lnTo>
                        <a:pt x="182526" y="201760"/>
                      </a:lnTo>
                      <a:cubicBezTo>
                        <a:pt x="182250" y="200471"/>
                        <a:pt x="181143" y="199550"/>
                        <a:pt x="179853" y="199550"/>
                      </a:cubicBezTo>
                      <a:lnTo>
                        <a:pt x="162797" y="199550"/>
                      </a:lnTo>
                      <a:cubicBezTo>
                        <a:pt x="161506" y="199550"/>
                        <a:pt x="160400" y="200471"/>
                        <a:pt x="160123" y="201760"/>
                      </a:cubicBezTo>
                      <a:lnTo>
                        <a:pt x="157634" y="216396"/>
                      </a:lnTo>
                      <a:lnTo>
                        <a:pt x="144266" y="293999"/>
                      </a:lnTo>
                      <a:lnTo>
                        <a:pt x="138550" y="286450"/>
                      </a:lnTo>
                      <a:cubicBezTo>
                        <a:pt x="133663" y="280191"/>
                        <a:pt x="127025" y="275864"/>
                        <a:pt x="119650" y="273747"/>
                      </a:cubicBezTo>
                      <a:lnTo>
                        <a:pt x="119189" y="275127"/>
                      </a:lnTo>
                      <a:lnTo>
                        <a:pt x="88580" y="368931"/>
                      </a:lnTo>
                      <a:cubicBezTo>
                        <a:pt x="83418" y="384949"/>
                        <a:pt x="66177" y="393694"/>
                        <a:pt x="50135" y="388447"/>
                      </a:cubicBezTo>
                      <a:cubicBezTo>
                        <a:pt x="34094" y="383200"/>
                        <a:pt x="25335" y="366078"/>
                        <a:pt x="30590" y="350060"/>
                      </a:cubicBezTo>
                      <a:lnTo>
                        <a:pt x="61107" y="256256"/>
                      </a:lnTo>
                      <a:lnTo>
                        <a:pt x="82403" y="190989"/>
                      </a:lnTo>
                      <a:cubicBezTo>
                        <a:pt x="89318" y="169725"/>
                        <a:pt x="108955" y="155456"/>
                        <a:pt x="131358" y="155456"/>
                      </a:cubicBezTo>
                      <a:close/>
                      <a:moveTo>
                        <a:pt x="171336" y="0"/>
                      </a:moveTo>
                      <a:cubicBezTo>
                        <a:pt x="208477" y="0"/>
                        <a:pt x="238585" y="30045"/>
                        <a:pt x="238585" y="67108"/>
                      </a:cubicBezTo>
                      <a:cubicBezTo>
                        <a:pt x="238585" y="104171"/>
                        <a:pt x="208477" y="134216"/>
                        <a:pt x="171336" y="134216"/>
                      </a:cubicBezTo>
                      <a:cubicBezTo>
                        <a:pt x="134195" y="134216"/>
                        <a:pt x="104087" y="104171"/>
                        <a:pt x="104087" y="67108"/>
                      </a:cubicBezTo>
                      <a:cubicBezTo>
                        <a:pt x="104087" y="30045"/>
                        <a:pt x="134195" y="0"/>
                        <a:pt x="1713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54723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身边出现患者后，该采取何种措施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673099" y="2175103"/>
            <a:ext cx="108458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>
            <a:cxnSpLocks/>
            <a:stCxn id="17" idx="2"/>
            <a:endCxn id="20" idx="0"/>
          </p:cNvCxnSpPr>
          <p:nvPr/>
        </p:nvCxnSpPr>
        <p:spPr>
          <a:xfrm>
            <a:off x="3229299" y="1874785"/>
            <a:ext cx="0" cy="2696159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椭圆 9"/>
          <p:cNvSpPr/>
          <p:nvPr/>
        </p:nvSpPr>
        <p:spPr>
          <a:xfrm>
            <a:off x="3148409" y="2094213"/>
            <a:ext cx="161780" cy="16178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DF32771F-71BC-4422-9ECF-7830E5C3B52D}"/>
              </a:ext>
            </a:extLst>
          </p:cNvPr>
          <p:cNvCxnSpPr>
            <a:cxnSpLocks/>
            <a:stCxn id="14" idx="2"/>
            <a:endCxn id="16" idx="0"/>
          </p:cNvCxnSpPr>
          <p:nvPr/>
        </p:nvCxnSpPr>
        <p:spPr>
          <a:xfrm>
            <a:off x="8962701" y="1874785"/>
            <a:ext cx="0" cy="1640231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组合 51"/>
          <p:cNvGrpSpPr/>
          <p:nvPr/>
        </p:nvGrpSpPr>
        <p:grpSpPr>
          <a:xfrm>
            <a:off x="0" y="1295841"/>
            <a:ext cx="12177670" cy="5597482"/>
            <a:chOff x="0" y="1295841"/>
            <a:chExt cx="12177670" cy="5597482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9044E65-71C2-4B92-8DDC-1AD787D09245}"/>
                </a:ext>
              </a:extLst>
            </p:cNvPr>
            <p:cNvGrpSpPr/>
            <p:nvPr/>
          </p:nvGrpSpPr>
          <p:grpSpPr>
            <a:xfrm>
              <a:off x="0" y="4452494"/>
              <a:ext cx="12177670" cy="2440829"/>
              <a:chOff x="0" y="4466341"/>
              <a:chExt cx="9144000" cy="1832773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C96AB7A6-6F11-47F9-A08C-BEE0B06BA360}"/>
                  </a:ext>
                </a:extLst>
              </p:cNvPr>
              <p:cNvSpPr/>
              <p:nvPr/>
            </p:nvSpPr>
            <p:spPr bwMode="auto">
              <a:xfrm>
                <a:off x="772875" y="4678733"/>
                <a:ext cx="4359944" cy="1392352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0235A7A7-B055-43F4-808D-987A934AB16E}"/>
                  </a:ext>
                </a:extLst>
              </p:cNvPr>
              <p:cNvSpPr/>
              <p:nvPr/>
            </p:nvSpPr>
            <p:spPr bwMode="auto">
              <a:xfrm>
                <a:off x="117996" y="5321000"/>
                <a:ext cx="5994189" cy="750090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2BFFCD75-73D8-4335-B57B-3F31CF8EA2AA}"/>
                  </a:ext>
                </a:extLst>
              </p:cNvPr>
              <p:cNvSpPr/>
              <p:nvPr/>
            </p:nvSpPr>
            <p:spPr bwMode="auto">
              <a:xfrm>
                <a:off x="430686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A20A5A27-E3A3-48AB-92CF-1E6178DF0008}"/>
                  </a:ext>
                </a:extLst>
              </p:cNvPr>
              <p:cNvSpPr/>
              <p:nvPr/>
            </p:nvSpPr>
            <p:spPr bwMode="auto">
              <a:xfrm>
                <a:off x="908568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AFCBC4F1-1055-4876-9F57-6E2A4FE12B01}"/>
                  </a:ext>
                </a:extLst>
              </p:cNvPr>
              <p:cNvSpPr/>
              <p:nvPr/>
            </p:nvSpPr>
            <p:spPr bwMode="auto">
              <a:xfrm>
                <a:off x="2041328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7B67B1F2-C009-483C-AF02-AF7CD9CC0600}"/>
                  </a:ext>
                </a:extLst>
              </p:cNvPr>
              <p:cNvSpPr/>
              <p:nvPr/>
            </p:nvSpPr>
            <p:spPr bwMode="auto">
              <a:xfrm>
                <a:off x="2118028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BC971B8A-D9C2-4DD4-9715-E1BF4770DCFD}"/>
                  </a:ext>
                </a:extLst>
              </p:cNvPr>
              <p:cNvSpPr/>
              <p:nvPr/>
            </p:nvSpPr>
            <p:spPr bwMode="auto">
              <a:xfrm>
                <a:off x="2348117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A0E8778B-4382-4CAE-954E-7697FD0E38F4}"/>
                  </a:ext>
                </a:extLst>
              </p:cNvPr>
              <p:cNvSpPr/>
              <p:nvPr/>
            </p:nvSpPr>
            <p:spPr bwMode="auto">
              <a:xfrm>
                <a:off x="2660808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4EAA081C-D4C3-49C3-8999-3ADC5B68EAA7}"/>
                  </a:ext>
                </a:extLst>
              </p:cNvPr>
              <p:cNvSpPr/>
              <p:nvPr/>
            </p:nvSpPr>
            <p:spPr bwMode="auto">
              <a:xfrm>
                <a:off x="2796502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13431743-9C0F-4F93-B715-A6A7A5293D14}"/>
                  </a:ext>
                </a:extLst>
              </p:cNvPr>
              <p:cNvSpPr/>
              <p:nvPr/>
            </p:nvSpPr>
            <p:spPr bwMode="auto">
              <a:xfrm>
                <a:off x="3421880" y="5610901"/>
                <a:ext cx="147494" cy="442486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DE94EF8D-D402-4448-8F36-C78900E43B27}"/>
                  </a:ext>
                </a:extLst>
              </p:cNvPr>
              <p:cNvSpPr/>
              <p:nvPr/>
            </p:nvSpPr>
            <p:spPr bwMode="auto">
              <a:xfrm>
                <a:off x="3646071" y="5964889"/>
                <a:ext cx="82597" cy="88498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A7914C39-7FFF-4625-8F62-A3561D395C37}"/>
                  </a:ext>
                </a:extLst>
              </p:cNvPr>
              <p:cNvSpPr/>
              <p:nvPr/>
            </p:nvSpPr>
            <p:spPr bwMode="auto">
              <a:xfrm>
                <a:off x="3675572" y="5021474"/>
                <a:ext cx="778773" cy="1031913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376A8BEC-9D7C-4711-820C-E7882ADBEFDA}"/>
                  </a:ext>
                </a:extLst>
              </p:cNvPr>
              <p:cNvSpPr/>
              <p:nvPr/>
            </p:nvSpPr>
            <p:spPr bwMode="auto">
              <a:xfrm>
                <a:off x="4383548" y="5622700"/>
                <a:ext cx="306789" cy="430687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83CE5A90-E7A3-40C4-AF9A-B2CCE17A1389}"/>
                  </a:ext>
                </a:extLst>
              </p:cNvPr>
              <p:cNvSpPr/>
              <p:nvPr/>
            </p:nvSpPr>
            <p:spPr bwMode="auto">
              <a:xfrm>
                <a:off x="4908627" y="5634500"/>
                <a:ext cx="365788" cy="418888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5ECFB45B-C0BE-4D47-8927-C2688F9BC984}"/>
                  </a:ext>
                </a:extLst>
              </p:cNvPr>
              <p:cNvSpPr/>
              <p:nvPr/>
            </p:nvSpPr>
            <p:spPr bwMode="auto">
              <a:xfrm>
                <a:off x="5303915" y="5410309"/>
                <a:ext cx="873170" cy="643080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5511EAEE-6F34-47C0-B55E-003AFDC42AF0}"/>
                  </a:ext>
                </a:extLst>
              </p:cNvPr>
              <p:cNvSpPr/>
              <p:nvPr/>
            </p:nvSpPr>
            <p:spPr bwMode="auto">
              <a:xfrm>
                <a:off x="35399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BD52D1FA-6B93-4BBB-AA76-6639FB421281}"/>
                  </a:ext>
                </a:extLst>
              </p:cNvPr>
              <p:cNvSpPr/>
              <p:nvPr/>
            </p:nvSpPr>
            <p:spPr bwMode="auto">
              <a:xfrm>
                <a:off x="2796502" y="4887064"/>
                <a:ext cx="595877" cy="1166323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0B15C851-F157-4A57-BC95-4B7A43139144}"/>
                  </a:ext>
                </a:extLst>
              </p:cNvPr>
              <p:cNvSpPr/>
              <p:nvPr/>
            </p:nvSpPr>
            <p:spPr bwMode="auto">
              <a:xfrm>
                <a:off x="4708034" y="6006189"/>
                <a:ext cx="631276" cy="47199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24B91648-F27B-4881-A656-9EE49B9927C7}"/>
                  </a:ext>
                </a:extLst>
              </p:cNvPr>
              <p:cNvSpPr/>
              <p:nvPr/>
            </p:nvSpPr>
            <p:spPr bwMode="auto">
              <a:xfrm>
                <a:off x="0" y="5982589"/>
                <a:ext cx="9144000" cy="316525"/>
              </a:xfrm>
              <a:custGeom>
                <a:avLst/>
                <a:gdLst>
                  <a:gd name="T0" fmla="*/ 132 w 2098"/>
                  <a:gd name="T1" fmla="*/ 21 h 101"/>
                  <a:gd name="T2" fmla="*/ 138 w 2098"/>
                  <a:gd name="T3" fmla="*/ 0 h 101"/>
                  <a:gd name="T4" fmla="*/ 281 w 2098"/>
                  <a:gd name="T5" fmla="*/ 21 h 101"/>
                  <a:gd name="T6" fmla="*/ 289 w 2098"/>
                  <a:gd name="T7" fmla="*/ 0 h 101"/>
                  <a:gd name="T8" fmla="*/ 675 w 2098"/>
                  <a:gd name="T9" fmla="*/ 21 h 101"/>
                  <a:gd name="T10" fmla="*/ 685 w 2098"/>
                  <a:gd name="T11" fmla="*/ 0 h 101"/>
                  <a:gd name="T12" fmla="*/ 706 w 2098"/>
                  <a:gd name="T13" fmla="*/ 21 h 101"/>
                  <a:gd name="T14" fmla="*/ 710 w 2098"/>
                  <a:gd name="T15" fmla="*/ 0 h 101"/>
                  <a:gd name="T16" fmla="*/ 819 w 2098"/>
                  <a:gd name="T17" fmla="*/ 21 h 101"/>
                  <a:gd name="T18" fmla="*/ 824 w 2098"/>
                  <a:gd name="T19" fmla="*/ 0 h 101"/>
                  <a:gd name="T20" fmla="*/ 889 w 2098"/>
                  <a:gd name="T21" fmla="*/ 21 h 101"/>
                  <a:gd name="T22" fmla="*/ 895 w 2098"/>
                  <a:gd name="T23" fmla="*/ 0 h 101"/>
                  <a:gd name="T24" fmla="*/ 979 w 2098"/>
                  <a:gd name="T25" fmla="*/ 21 h 101"/>
                  <a:gd name="T26" fmla="*/ 987 w 2098"/>
                  <a:gd name="T27" fmla="*/ 0 h 101"/>
                  <a:gd name="T28" fmla="*/ 1222 w 2098"/>
                  <a:gd name="T29" fmla="*/ 21 h 101"/>
                  <a:gd name="T30" fmla="*/ 1228 w 2098"/>
                  <a:gd name="T31" fmla="*/ 0 h 101"/>
                  <a:gd name="T32" fmla="*/ 1257 w 2098"/>
                  <a:gd name="T33" fmla="*/ 21 h 101"/>
                  <a:gd name="T34" fmla="*/ 1260 w 2098"/>
                  <a:gd name="T35" fmla="*/ 4 h 101"/>
                  <a:gd name="T36" fmla="*/ 1352 w 2098"/>
                  <a:gd name="T37" fmla="*/ 0 h 101"/>
                  <a:gd name="T38" fmla="*/ 1362 w 2098"/>
                  <a:gd name="T39" fmla="*/ 4 h 101"/>
                  <a:gd name="T40" fmla="*/ 1446 w 2098"/>
                  <a:gd name="T41" fmla="*/ 0 h 101"/>
                  <a:gd name="T42" fmla="*/ 1446 w 2098"/>
                  <a:gd name="T43" fmla="*/ 11 h 101"/>
                  <a:gd name="T44" fmla="*/ 1477 w 2098"/>
                  <a:gd name="T45" fmla="*/ 21 h 101"/>
                  <a:gd name="T46" fmla="*/ 1478 w 2098"/>
                  <a:gd name="T47" fmla="*/ 0 h 101"/>
                  <a:gd name="T48" fmla="*/ 1582 w 2098"/>
                  <a:gd name="T49" fmla="*/ 21 h 101"/>
                  <a:gd name="T50" fmla="*/ 1610 w 2098"/>
                  <a:gd name="T51" fmla="*/ 0 h 101"/>
                  <a:gd name="T52" fmla="*/ 1783 w 2098"/>
                  <a:gd name="T53" fmla="*/ 21 h 101"/>
                  <a:gd name="T54" fmla="*/ 1792 w 2098"/>
                  <a:gd name="T55" fmla="*/ 0 h 101"/>
                  <a:gd name="T56" fmla="*/ 1884 w 2098"/>
                  <a:gd name="T57" fmla="*/ 4 h 101"/>
                  <a:gd name="T58" fmla="*/ 1903 w 2098"/>
                  <a:gd name="T59" fmla="*/ 11 h 101"/>
                  <a:gd name="T60" fmla="*/ 1928 w 2098"/>
                  <a:gd name="T61" fmla="*/ 0 h 101"/>
                  <a:gd name="T62" fmla="*/ 2029 w 2098"/>
                  <a:gd name="T63" fmla="*/ 11 h 101"/>
                  <a:gd name="T64" fmla="*/ 2037 w 2098"/>
                  <a:gd name="T65" fmla="*/ 19 h 101"/>
                  <a:gd name="T66" fmla="*/ 2046 w 2098"/>
                  <a:gd name="T67" fmla="*/ 4 h 101"/>
                  <a:gd name="T68" fmla="*/ 2081 w 2098"/>
                  <a:gd name="T69" fmla="*/ 19 h 101"/>
                  <a:gd name="T70" fmla="*/ 2087 w 2098"/>
                  <a:gd name="T71" fmla="*/ 21 h 101"/>
                  <a:gd name="T72" fmla="*/ 2098 w 2098"/>
                  <a:gd name="T73" fmla="*/ 57 h 101"/>
                  <a:gd name="T74" fmla="*/ 2098 w 2098"/>
                  <a:gd name="T75" fmla="*/ 101 h 101"/>
                  <a:gd name="T76" fmla="*/ 0 w 2098"/>
                  <a:gd name="T77" fmla="*/ 101 h 101"/>
                  <a:gd name="T78" fmla="*/ 0 w 2098"/>
                  <a:gd name="T79" fmla="*/ 57 h 101"/>
                  <a:gd name="T80" fmla="*/ 4 w 2098"/>
                  <a:gd name="T81" fmla="*/ 21 h 101"/>
                  <a:gd name="T82" fmla="*/ 132 w 2098"/>
                  <a:gd name="T8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98" h="101">
                    <a:moveTo>
                      <a:pt x="132" y="0"/>
                    </a:moveTo>
                    <a:lnTo>
                      <a:pt x="132" y="21"/>
                    </a:lnTo>
                    <a:lnTo>
                      <a:pt x="138" y="21"/>
                    </a:lnTo>
                    <a:lnTo>
                      <a:pt x="138" y="0"/>
                    </a:lnTo>
                    <a:lnTo>
                      <a:pt x="281" y="0"/>
                    </a:lnTo>
                    <a:lnTo>
                      <a:pt x="281" y="21"/>
                    </a:lnTo>
                    <a:lnTo>
                      <a:pt x="289" y="21"/>
                    </a:lnTo>
                    <a:lnTo>
                      <a:pt x="289" y="0"/>
                    </a:lnTo>
                    <a:lnTo>
                      <a:pt x="675" y="0"/>
                    </a:lnTo>
                    <a:lnTo>
                      <a:pt x="675" y="21"/>
                    </a:lnTo>
                    <a:lnTo>
                      <a:pt x="685" y="21"/>
                    </a:lnTo>
                    <a:lnTo>
                      <a:pt x="685" y="0"/>
                    </a:lnTo>
                    <a:lnTo>
                      <a:pt x="706" y="0"/>
                    </a:lnTo>
                    <a:lnTo>
                      <a:pt x="706" y="21"/>
                    </a:lnTo>
                    <a:lnTo>
                      <a:pt x="710" y="21"/>
                    </a:lnTo>
                    <a:lnTo>
                      <a:pt x="710" y="0"/>
                    </a:lnTo>
                    <a:lnTo>
                      <a:pt x="819" y="0"/>
                    </a:lnTo>
                    <a:lnTo>
                      <a:pt x="819" y="21"/>
                    </a:lnTo>
                    <a:lnTo>
                      <a:pt x="824" y="21"/>
                    </a:lnTo>
                    <a:lnTo>
                      <a:pt x="824" y="0"/>
                    </a:lnTo>
                    <a:lnTo>
                      <a:pt x="889" y="0"/>
                    </a:lnTo>
                    <a:lnTo>
                      <a:pt x="889" y="21"/>
                    </a:lnTo>
                    <a:lnTo>
                      <a:pt x="895" y="21"/>
                    </a:lnTo>
                    <a:lnTo>
                      <a:pt x="895" y="0"/>
                    </a:lnTo>
                    <a:lnTo>
                      <a:pt x="979" y="0"/>
                    </a:lnTo>
                    <a:lnTo>
                      <a:pt x="979" y="21"/>
                    </a:lnTo>
                    <a:lnTo>
                      <a:pt x="987" y="21"/>
                    </a:lnTo>
                    <a:lnTo>
                      <a:pt x="987" y="0"/>
                    </a:lnTo>
                    <a:lnTo>
                      <a:pt x="1222" y="0"/>
                    </a:lnTo>
                    <a:lnTo>
                      <a:pt x="1222" y="21"/>
                    </a:lnTo>
                    <a:lnTo>
                      <a:pt x="1228" y="21"/>
                    </a:lnTo>
                    <a:lnTo>
                      <a:pt x="1228" y="0"/>
                    </a:lnTo>
                    <a:lnTo>
                      <a:pt x="1257" y="0"/>
                    </a:lnTo>
                    <a:lnTo>
                      <a:pt x="1257" y="21"/>
                    </a:lnTo>
                    <a:lnTo>
                      <a:pt x="1260" y="21"/>
                    </a:lnTo>
                    <a:lnTo>
                      <a:pt x="1260" y="4"/>
                    </a:lnTo>
                    <a:lnTo>
                      <a:pt x="1260" y="0"/>
                    </a:lnTo>
                    <a:lnTo>
                      <a:pt x="1352" y="0"/>
                    </a:lnTo>
                    <a:lnTo>
                      <a:pt x="1352" y="4"/>
                    </a:lnTo>
                    <a:lnTo>
                      <a:pt x="1362" y="4"/>
                    </a:lnTo>
                    <a:lnTo>
                      <a:pt x="1362" y="0"/>
                    </a:lnTo>
                    <a:lnTo>
                      <a:pt x="1446" y="0"/>
                    </a:lnTo>
                    <a:lnTo>
                      <a:pt x="1446" y="4"/>
                    </a:lnTo>
                    <a:lnTo>
                      <a:pt x="1446" y="11"/>
                    </a:lnTo>
                    <a:lnTo>
                      <a:pt x="1477" y="11"/>
                    </a:lnTo>
                    <a:lnTo>
                      <a:pt x="1477" y="21"/>
                    </a:lnTo>
                    <a:lnTo>
                      <a:pt x="1478" y="21"/>
                    </a:lnTo>
                    <a:lnTo>
                      <a:pt x="1478" y="0"/>
                    </a:lnTo>
                    <a:lnTo>
                      <a:pt x="1582" y="0"/>
                    </a:lnTo>
                    <a:lnTo>
                      <a:pt x="1582" y="21"/>
                    </a:lnTo>
                    <a:lnTo>
                      <a:pt x="1610" y="21"/>
                    </a:lnTo>
                    <a:lnTo>
                      <a:pt x="1610" y="0"/>
                    </a:lnTo>
                    <a:lnTo>
                      <a:pt x="1783" y="0"/>
                    </a:lnTo>
                    <a:lnTo>
                      <a:pt x="1783" y="21"/>
                    </a:lnTo>
                    <a:lnTo>
                      <a:pt x="1792" y="21"/>
                    </a:lnTo>
                    <a:lnTo>
                      <a:pt x="1792" y="0"/>
                    </a:lnTo>
                    <a:lnTo>
                      <a:pt x="1884" y="0"/>
                    </a:lnTo>
                    <a:lnTo>
                      <a:pt x="1884" y="4"/>
                    </a:lnTo>
                    <a:lnTo>
                      <a:pt x="1903" y="4"/>
                    </a:lnTo>
                    <a:lnTo>
                      <a:pt x="1903" y="11"/>
                    </a:lnTo>
                    <a:lnTo>
                      <a:pt x="1928" y="11"/>
                    </a:lnTo>
                    <a:lnTo>
                      <a:pt x="1928" y="0"/>
                    </a:lnTo>
                    <a:lnTo>
                      <a:pt x="2029" y="0"/>
                    </a:lnTo>
                    <a:lnTo>
                      <a:pt x="2029" y="11"/>
                    </a:lnTo>
                    <a:lnTo>
                      <a:pt x="2037" y="11"/>
                    </a:lnTo>
                    <a:lnTo>
                      <a:pt x="2037" y="19"/>
                    </a:lnTo>
                    <a:lnTo>
                      <a:pt x="2046" y="19"/>
                    </a:lnTo>
                    <a:lnTo>
                      <a:pt x="2046" y="4"/>
                    </a:lnTo>
                    <a:lnTo>
                      <a:pt x="2081" y="4"/>
                    </a:lnTo>
                    <a:lnTo>
                      <a:pt x="2081" y="19"/>
                    </a:lnTo>
                    <a:lnTo>
                      <a:pt x="2087" y="19"/>
                    </a:lnTo>
                    <a:lnTo>
                      <a:pt x="2087" y="21"/>
                    </a:lnTo>
                    <a:lnTo>
                      <a:pt x="2098" y="21"/>
                    </a:lnTo>
                    <a:lnTo>
                      <a:pt x="2098" y="57"/>
                    </a:lnTo>
                    <a:lnTo>
                      <a:pt x="2098" y="57"/>
                    </a:lnTo>
                    <a:lnTo>
                      <a:pt x="2098" y="101"/>
                    </a:lnTo>
                    <a:lnTo>
                      <a:pt x="2098" y="101"/>
                    </a:lnTo>
                    <a:lnTo>
                      <a:pt x="0" y="101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0"/>
                    </a:lnTo>
                    <a:lnTo>
                      <a:pt x="132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7D1C52A3-3E7F-4F08-A48E-09ECEE8091AA}"/>
                  </a:ext>
                </a:extLst>
              </p:cNvPr>
              <p:cNvSpPr/>
              <p:nvPr/>
            </p:nvSpPr>
            <p:spPr bwMode="auto">
              <a:xfrm>
                <a:off x="6503219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92559AA5-08DB-44A7-8194-5EFE8D5DE668}"/>
                  </a:ext>
                </a:extLst>
              </p:cNvPr>
              <p:cNvSpPr/>
              <p:nvPr/>
            </p:nvSpPr>
            <p:spPr bwMode="auto">
              <a:xfrm>
                <a:off x="6981101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19020C11-2C81-4A0A-9FED-E40B0F84B121}"/>
                  </a:ext>
                </a:extLst>
              </p:cNvPr>
              <p:cNvSpPr/>
              <p:nvPr/>
            </p:nvSpPr>
            <p:spPr bwMode="auto">
              <a:xfrm>
                <a:off x="8113861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EA7784E9-ABC3-4756-B167-108F78A2870A}"/>
                  </a:ext>
                </a:extLst>
              </p:cNvPr>
              <p:cNvSpPr/>
              <p:nvPr/>
            </p:nvSpPr>
            <p:spPr bwMode="auto">
              <a:xfrm>
                <a:off x="8190561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FD4DC11B-4B01-4004-A4AA-47368C6483AF}"/>
                  </a:ext>
                </a:extLst>
              </p:cNvPr>
              <p:cNvSpPr/>
              <p:nvPr/>
            </p:nvSpPr>
            <p:spPr bwMode="auto">
              <a:xfrm>
                <a:off x="8420651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DFD680BB-D3CB-46CD-AC82-0EF1E2DFB9B9}"/>
                  </a:ext>
                </a:extLst>
              </p:cNvPr>
              <p:cNvSpPr/>
              <p:nvPr/>
            </p:nvSpPr>
            <p:spPr bwMode="auto">
              <a:xfrm>
                <a:off x="8733341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F3902DE8-F754-4C6A-9A79-2C140CCFFA52}"/>
                  </a:ext>
                </a:extLst>
              </p:cNvPr>
              <p:cNvSpPr/>
              <p:nvPr/>
            </p:nvSpPr>
            <p:spPr bwMode="auto">
              <a:xfrm>
                <a:off x="8869035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588F21D5-ADBE-4164-9349-CFA54029E5B8}"/>
                  </a:ext>
                </a:extLst>
              </p:cNvPr>
              <p:cNvSpPr/>
              <p:nvPr/>
            </p:nvSpPr>
            <p:spPr bwMode="auto">
              <a:xfrm>
                <a:off x="6107932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7D9A3931-2CDB-431C-AC0E-69CCE88C864D}"/>
                  </a:ext>
                </a:extLst>
              </p:cNvPr>
              <p:cNvSpPr/>
              <p:nvPr/>
            </p:nvSpPr>
            <p:spPr bwMode="auto">
              <a:xfrm>
                <a:off x="8454305" y="4466341"/>
                <a:ext cx="595877" cy="1587046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D65C478C-F05F-4862-834A-061BC27FD0CE}"/>
                  </a:ext>
                </a:extLst>
              </p:cNvPr>
              <p:cNvSpPr/>
              <p:nvPr/>
            </p:nvSpPr>
            <p:spPr bwMode="auto">
              <a:xfrm>
                <a:off x="3813013" y="5050424"/>
                <a:ext cx="5330987" cy="1020666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1533BCFE-6C8E-4739-9BC6-0FD8EF2A1F9D}"/>
                </a:ext>
              </a:extLst>
            </p:cNvPr>
            <p:cNvGrpSpPr/>
            <p:nvPr/>
          </p:nvGrpSpPr>
          <p:grpSpPr>
            <a:xfrm>
              <a:off x="673100" y="1295841"/>
              <a:ext cx="5112398" cy="3856356"/>
              <a:chOff x="673100" y="1124350"/>
              <a:chExt cx="2006184" cy="3856356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50EA57CD-874A-4580-95FD-44A33D4F7D94}"/>
                  </a:ext>
                </a:extLst>
              </p:cNvPr>
              <p:cNvSpPr/>
              <p:nvPr/>
            </p:nvSpPr>
            <p:spPr>
              <a:xfrm>
                <a:off x="673100" y="1124350"/>
                <a:ext cx="2006184" cy="578944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zh-CN" altLang="en-US" b="1" dirty="0">
                    <a:solidFill>
                      <a:schemeClr val="bg1"/>
                    </a:solidFill>
                    <a:cs typeface="+mn-ea"/>
                    <a:sym typeface="+mn-lt"/>
                  </a:rPr>
                  <a:t>集中居住宾馆的隔离</a:t>
                </a: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C0456935-3FB5-487C-A717-1B6C31054231}"/>
                  </a:ext>
                </a:extLst>
              </p:cNvPr>
              <p:cNvSpPr txBox="1"/>
              <p:nvPr/>
            </p:nvSpPr>
            <p:spPr>
              <a:xfrm>
                <a:off x="673100" y="2287597"/>
                <a:ext cx="2006184" cy="58125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>
                    <a:cs typeface="+mn-ea"/>
                    <a:sym typeface="+mn-lt"/>
                  </a:rPr>
                  <a:t>Supporting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000">
                    <a:cs typeface="+mn-ea"/>
                    <a:sym typeface="+mn-lt"/>
                  </a:rPr>
                  <a:t>text </a:t>
                </a:r>
                <a:r>
                  <a:rPr lang="en-US" altLang="zh-CN" sz="1000" dirty="0">
                    <a:cs typeface="+mn-ea"/>
                    <a:sym typeface="+mn-lt"/>
                  </a:rPr>
                  <a:t>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C0456935-3FB5-487C-A717-1B6C31054231}"/>
                  </a:ext>
                </a:extLst>
              </p:cNvPr>
              <p:cNvSpPr txBox="1"/>
              <p:nvPr/>
            </p:nvSpPr>
            <p:spPr>
              <a:xfrm>
                <a:off x="673100" y="3343525"/>
                <a:ext cx="2006184" cy="58125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>
                    <a:cs typeface="+mn-ea"/>
                    <a:sym typeface="+mn-lt"/>
                  </a:rPr>
                  <a:t>Supporting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000">
                    <a:cs typeface="+mn-ea"/>
                    <a:sym typeface="+mn-lt"/>
                  </a:rPr>
                  <a:t>text </a:t>
                </a:r>
                <a:r>
                  <a:rPr lang="en-US" altLang="zh-CN" sz="1000" dirty="0">
                    <a:cs typeface="+mn-ea"/>
                    <a:sym typeface="+mn-lt"/>
                  </a:rPr>
                  <a:t>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C0456935-3FB5-487C-A717-1B6C31054231}"/>
                  </a:ext>
                </a:extLst>
              </p:cNvPr>
              <p:cNvSpPr txBox="1"/>
              <p:nvPr/>
            </p:nvSpPr>
            <p:spPr>
              <a:xfrm>
                <a:off x="673100" y="4399453"/>
                <a:ext cx="2006184" cy="58125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>
                    <a:cs typeface="+mn-ea"/>
                    <a:sym typeface="+mn-lt"/>
                  </a:rPr>
                  <a:t>Supporting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000">
                    <a:cs typeface="+mn-ea"/>
                    <a:sym typeface="+mn-lt"/>
                  </a:rPr>
                  <a:t>text </a:t>
                </a:r>
                <a:r>
                  <a:rPr lang="en-US" altLang="zh-CN" sz="1000" dirty="0">
                    <a:cs typeface="+mn-ea"/>
                    <a:sym typeface="+mn-lt"/>
                  </a:rPr>
                  <a:t>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A1394C6-8C1D-44DB-83F5-6A2E90A34CED}"/>
                </a:ext>
              </a:extLst>
            </p:cNvPr>
            <p:cNvGrpSpPr/>
            <p:nvPr/>
          </p:nvGrpSpPr>
          <p:grpSpPr>
            <a:xfrm>
              <a:off x="6406502" y="1295841"/>
              <a:ext cx="5112398" cy="2800428"/>
              <a:chOff x="673100" y="1124350"/>
              <a:chExt cx="2006184" cy="2800428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705DD3B1-8409-4BDF-9170-41D343127D82}"/>
                  </a:ext>
                </a:extLst>
              </p:cNvPr>
              <p:cNvSpPr/>
              <p:nvPr/>
            </p:nvSpPr>
            <p:spPr>
              <a:xfrm>
                <a:off x="673100" y="1124350"/>
                <a:ext cx="2006184" cy="57894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zh-CN" altLang="en-US" b="1" dirty="0">
                    <a:solidFill>
                      <a:schemeClr val="bg1"/>
                    </a:solidFill>
                    <a:cs typeface="+mn-ea"/>
                    <a:sym typeface="+mn-lt"/>
                  </a:rPr>
                  <a:t>家庭成员的隔离</a:t>
                </a: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D2E936A1-C043-4BA0-BC70-6BA7134B46B7}"/>
                  </a:ext>
                </a:extLst>
              </p:cNvPr>
              <p:cNvSpPr txBox="1"/>
              <p:nvPr/>
            </p:nvSpPr>
            <p:spPr>
              <a:xfrm>
                <a:off x="673100" y="2287597"/>
                <a:ext cx="2006184" cy="58125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</a:t>
                </a:r>
                <a:r>
                  <a:rPr lang="en-US" altLang="zh-CN" sz="100" dirty="0">
                    <a:cs typeface="+mn-ea"/>
                    <a:sym typeface="+mn-lt"/>
                  </a:rPr>
                  <a:t> </a:t>
                </a:r>
                <a:r>
                  <a:rPr lang="en-US" altLang="zh-CN" sz="1000" dirty="0">
                    <a:cs typeface="+mn-ea"/>
                    <a:sym typeface="+mn-lt"/>
                  </a:rPr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BD0056E6-3EEC-48D7-ACE5-4FBC432C050E}"/>
                  </a:ext>
                </a:extLst>
              </p:cNvPr>
              <p:cNvSpPr txBox="1"/>
              <p:nvPr/>
            </p:nvSpPr>
            <p:spPr>
              <a:xfrm>
                <a:off x="673100" y="3343525"/>
                <a:ext cx="2006184" cy="58125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>
                    <a:cs typeface="+mn-ea"/>
                    <a:sym typeface="+mn-lt"/>
                  </a:rPr>
                  <a:t>Supporting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000">
                    <a:cs typeface="+mn-ea"/>
                    <a:sym typeface="+mn-lt"/>
                  </a:rPr>
                  <a:t>text </a:t>
                </a:r>
                <a:r>
                  <a:rPr lang="en-US" altLang="zh-CN" sz="1000" dirty="0">
                    <a:cs typeface="+mn-ea"/>
                    <a:sym typeface="+mn-lt"/>
                  </a:rPr>
                  <a:t>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</p:grpSp>
      <p:sp>
        <p:nvSpPr>
          <p:cNvPr id="13" name="椭圆 12">
            <a:extLst>
              <a:ext uri="{FF2B5EF4-FFF2-40B4-BE49-F238E27FC236}">
                <a16:creationId xmlns:a16="http://schemas.microsoft.com/office/drawing/2014/main" id="{E9A5E2B9-4852-462A-AFD0-FF656E673187}"/>
              </a:ext>
            </a:extLst>
          </p:cNvPr>
          <p:cNvSpPr/>
          <p:nvPr/>
        </p:nvSpPr>
        <p:spPr>
          <a:xfrm>
            <a:off x="8881811" y="2094213"/>
            <a:ext cx="161780" cy="161780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128866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什么情况下需要就诊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sp>
          <p:nvSpPr>
            <p:cNvPr id="6" name="矩形 5"/>
            <p:cNvSpPr/>
            <p:nvPr/>
          </p:nvSpPr>
          <p:spPr>
            <a:xfrm>
              <a:off x="660400" y="1130300"/>
              <a:ext cx="3543300" cy="5003800"/>
            </a:xfrm>
            <a:prstGeom prst="rect">
              <a:avLst/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7" name="图文框 6"/>
            <p:cNvSpPr/>
            <p:nvPr/>
          </p:nvSpPr>
          <p:spPr>
            <a:xfrm>
              <a:off x="2432050" y="2625631"/>
              <a:ext cx="9086850" cy="2485624"/>
            </a:xfrm>
            <a:prstGeom prst="frame">
              <a:avLst>
                <a:gd name="adj1" fmla="val 1388"/>
              </a:avLst>
            </a:pr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4203700" y="2153145"/>
              <a:ext cx="5375370" cy="2670176"/>
              <a:chOff x="4327923" y="2153145"/>
              <a:chExt cx="5375370" cy="2670176"/>
            </a:xfrm>
          </p:grpSpPr>
          <p:sp>
            <p:nvSpPr>
              <p:cNvPr id="9" name="矩形 8"/>
              <p:cNvSpPr/>
              <p:nvPr/>
            </p:nvSpPr>
            <p:spPr>
              <a:xfrm>
                <a:off x="4327923" y="2153145"/>
                <a:ext cx="5375370" cy="472486"/>
              </a:xfrm>
              <a:prstGeom prst="rect">
                <a:avLst/>
              </a:prstGeom>
              <a:solidFill>
                <a:schemeClr val="accent1"/>
              </a:solidFill>
              <a:ln w="254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b="1">
                    <a:solidFill>
                      <a:schemeClr val="bg1"/>
                    </a:solidFill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solidFill>
                      <a:schemeClr val="bg1"/>
                    </a:solidFill>
                    <a:cs typeface="+mn-ea"/>
                    <a:sym typeface="+mn-lt"/>
                  </a:rPr>
                  <a:t>xt </a:t>
                </a:r>
                <a:r>
                  <a:rPr lang="en-US" altLang="zh-CN" b="1" dirty="0">
                    <a:solidFill>
                      <a:schemeClr val="bg1"/>
                    </a:solidFill>
                    <a:cs typeface="+mn-ea"/>
                    <a:sym typeface="+mn-lt"/>
                  </a:rPr>
                  <a:t>here</a:t>
                </a:r>
                <a:endParaRPr lang="zh-CN" altLang="en-US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25AE6077-712A-4E8D-8829-BB856AF9DF96}"/>
                  </a:ext>
                </a:extLst>
              </p:cNvPr>
              <p:cNvSpPr/>
              <p:nvPr/>
            </p:nvSpPr>
            <p:spPr bwMode="auto">
              <a:xfrm>
                <a:off x="4327923" y="2625631"/>
                <a:ext cx="5375370" cy="21976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7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600" dirty="0">
                    <a:cs typeface="+mn-ea"/>
                    <a:sym typeface="+mn-lt"/>
                  </a:rPr>
                  <a:t>出现发热（腋下体温≧ </a:t>
                </a:r>
                <a:r>
                  <a:rPr lang="en-US" altLang="zh-CN" sz="1600" dirty="0">
                    <a:cs typeface="+mn-ea"/>
                    <a:sym typeface="+mn-lt"/>
                  </a:rPr>
                  <a:t>37.3℃</a:t>
                </a:r>
                <a:r>
                  <a:rPr lang="zh-CN" altLang="en-US" sz="1600" dirty="0">
                    <a:cs typeface="+mn-ea"/>
                    <a:sym typeface="+mn-lt"/>
                  </a:rPr>
                  <a:t>）、乏力、咳嗽（以干咳为主）等急性呼吸道感染症状，发病前</a:t>
                </a:r>
                <a:r>
                  <a:rPr lang="en-US" altLang="zh-CN" sz="1600" dirty="0">
                    <a:cs typeface="+mn-ea"/>
                    <a:sym typeface="+mn-lt"/>
                  </a:rPr>
                  <a:t>2</a:t>
                </a:r>
                <a:r>
                  <a:rPr lang="zh-CN" altLang="en-US" sz="1600" dirty="0">
                    <a:cs typeface="+mn-ea"/>
                    <a:sym typeface="+mn-lt"/>
                  </a:rPr>
                  <a:t>周内有武汉出行史。</a:t>
                </a:r>
              </a:p>
            </p:txBody>
          </p:sp>
        </p:grpSp>
      </p:grpSp>
      <p:grpSp>
        <p:nvGrpSpPr>
          <p:cNvPr id="261" name="组合 260">
            <a:extLst>
              <a:ext uri="{FF2B5EF4-FFF2-40B4-BE49-F238E27FC236}">
                <a16:creationId xmlns:a16="http://schemas.microsoft.com/office/drawing/2014/main" id="{A516A369-5E65-4C4F-B977-51475B677EC7}"/>
              </a:ext>
            </a:extLst>
          </p:cNvPr>
          <p:cNvGrpSpPr/>
          <p:nvPr/>
        </p:nvGrpSpPr>
        <p:grpSpPr>
          <a:xfrm rot="433328">
            <a:off x="822895" y="2556824"/>
            <a:ext cx="2844566" cy="2865650"/>
            <a:chOff x="1273442" y="1794427"/>
            <a:chExt cx="4037688" cy="4067616"/>
          </a:xfrm>
        </p:grpSpPr>
        <p:grpSp>
          <p:nvGrpSpPr>
            <p:cNvPr id="262" name="组合 261">
              <a:extLst>
                <a:ext uri="{FF2B5EF4-FFF2-40B4-BE49-F238E27FC236}">
                  <a16:creationId xmlns:a16="http://schemas.microsoft.com/office/drawing/2014/main" id="{93DE205B-FE1C-44F9-B1E3-4D8BD981AC83}"/>
                </a:ext>
              </a:extLst>
            </p:cNvPr>
            <p:cNvGrpSpPr/>
            <p:nvPr/>
          </p:nvGrpSpPr>
          <p:grpSpPr>
            <a:xfrm rot="938189">
              <a:off x="1342154" y="2172610"/>
              <a:ext cx="3653050" cy="3689433"/>
              <a:chOff x="1342154" y="2172610"/>
              <a:chExt cx="3653050" cy="3689433"/>
            </a:xfrm>
            <a:solidFill>
              <a:srgbClr val="00F2A9"/>
            </a:solidFill>
          </p:grpSpPr>
          <p:sp>
            <p:nvSpPr>
              <p:cNvPr id="271" name="任意多边形: 形状 270">
                <a:extLst>
                  <a:ext uri="{FF2B5EF4-FFF2-40B4-BE49-F238E27FC236}">
                    <a16:creationId xmlns:a16="http://schemas.microsoft.com/office/drawing/2014/main" id="{854C9F9B-EC70-49A2-84AF-290557D8F0AD}"/>
                  </a:ext>
                </a:extLst>
              </p:cNvPr>
              <p:cNvSpPr/>
              <p:nvPr/>
            </p:nvSpPr>
            <p:spPr>
              <a:xfrm>
                <a:off x="1342154" y="4916535"/>
                <a:ext cx="945509" cy="945508"/>
              </a:xfrm>
              <a:custGeom>
                <a:avLst/>
                <a:gdLst>
                  <a:gd name="connsiteX0" fmla="*/ 467559 w 945509"/>
                  <a:gd name="connsiteY0" fmla="*/ 851997 h 945508"/>
                  <a:gd name="connsiteX1" fmla="*/ 924729 w 945509"/>
                  <a:gd name="connsiteY1" fmla="*/ 851997 h 945508"/>
                  <a:gd name="connsiteX2" fmla="*/ 924729 w 945509"/>
                  <a:gd name="connsiteY2" fmla="*/ 755022 h 945508"/>
                  <a:gd name="connsiteX3" fmla="*/ 190487 w 945509"/>
                  <a:gd name="connsiteY3" fmla="*/ 20780 h 945508"/>
                  <a:gd name="connsiteX4" fmla="*/ 93512 w 945509"/>
                  <a:gd name="connsiteY4" fmla="*/ 20780 h 945508"/>
                  <a:gd name="connsiteX5" fmla="*/ 93512 w 945509"/>
                  <a:gd name="connsiteY5" fmla="*/ 477950 h 945508"/>
                  <a:gd name="connsiteX6" fmla="*/ 467559 w 945509"/>
                  <a:gd name="connsiteY6" fmla="*/ 851997 h 945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5509" h="945508">
                    <a:moveTo>
                      <a:pt x="467559" y="851997"/>
                    </a:moveTo>
                    <a:cubicBezTo>
                      <a:pt x="592242" y="976680"/>
                      <a:pt x="800046" y="976680"/>
                      <a:pt x="924729" y="851997"/>
                    </a:cubicBezTo>
                    <a:cubicBezTo>
                      <a:pt x="952436" y="824290"/>
                      <a:pt x="952436" y="782729"/>
                      <a:pt x="924729" y="755022"/>
                    </a:cubicBezTo>
                    <a:lnTo>
                      <a:pt x="190487" y="20780"/>
                    </a:lnTo>
                    <a:cubicBezTo>
                      <a:pt x="162780" y="-6927"/>
                      <a:pt x="121219" y="-6927"/>
                      <a:pt x="93512" y="20780"/>
                    </a:cubicBezTo>
                    <a:cubicBezTo>
                      <a:pt x="-31171" y="145463"/>
                      <a:pt x="-31171" y="353267"/>
                      <a:pt x="93512" y="477950"/>
                    </a:cubicBezTo>
                    <a:lnTo>
                      <a:pt x="467559" y="851997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72" name="任意多边形: 形状 271">
                <a:extLst>
                  <a:ext uri="{FF2B5EF4-FFF2-40B4-BE49-F238E27FC236}">
                    <a16:creationId xmlns:a16="http://schemas.microsoft.com/office/drawing/2014/main" id="{CEEA3951-FF89-47FB-9A85-170E6B95FD2E}"/>
                  </a:ext>
                </a:extLst>
              </p:cNvPr>
              <p:cNvSpPr/>
              <p:nvPr/>
            </p:nvSpPr>
            <p:spPr>
              <a:xfrm>
                <a:off x="3174295" y="2172610"/>
                <a:ext cx="1820910" cy="1857293"/>
              </a:xfrm>
              <a:custGeom>
                <a:avLst/>
                <a:gdLst>
                  <a:gd name="connsiteX0" fmla="*/ 1586239 w 1820910"/>
                  <a:gd name="connsiteY0" fmla="*/ 1836513 h 1857293"/>
                  <a:gd name="connsiteX1" fmla="*/ 1683214 w 1820910"/>
                  <a:gd name="connsiteY1" fmla="*/ 1836513 h 1857293"/>
                  <a:gd name="connsiteX2" fmla="*/ 1752482 w 1820910"/>
                  <a:gd name="connsiteY2" fmla="*/ 1774172 h 1857293"/>
                  <a:gd name="connsiteX3" fmla="*/ 1759409 w 1820910"/>
                  <a:gd name="connsiteY3" fmla="*/ 1476319 h 1857293"/>
                  <a:gd name="connsiteX4" fmla="*/ 360194 w 1820910"/>
                  <a:gd name="connsiteY4" fmla="*/ 42470 h 1857293"/>
                  <a:gd name="connsiteX5" fmla="*/ 166243 w 1820910"/>
                  <a:gd name="connsiteY5" fmla="*/ 35543 h 1857293"/>
                  <a:gd name="connsiteX6" fmla="*/ 20781 w 1820910"/>
                  <a:gd name="connsiteY6" fmla="*/ 167153 h 1857293"/>
                  <a:gd name="connsiteX7" fmla="*/ 20781 w 1820910"/>
                  <a:gd name="connsiteY7" fmla="*/ 264128 h 1857293"/>
                  <a:gd name="connsiteX8" fmla="*/ 103902 w 1820910"/>
                  <a:gd name="connsiteY8" fmla="*/ 347250 h 1857293"/>
                  <a:gd name="connsiteX9" fmla="*/ 1489264 w 1820910"/>
                  <a:gd name="connsiteY9" fmla="*/ 1732611 h 1857293"/>
                  <a:gd name="connsiteX10" fmla="*/ 1586239 w 1820910"/>
                  <a:gd name="connsiteY10" fmla="*/ 1836513 h 185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0910" h="1857293">
                    <a:moveTo>
                      <a:pt x="1586239" y="1836513"/>
                    </a:moveTo>
                    <a:cubicBezTo>
                      <a:pt x="1613946" y="1864220"/>
                      <a:pt x="1655507" y="1864220"/>
                      <a:pt x="1683214" y="1836513"/>
                    </a:cubicBezTo>
                    <a:lnTo>
                      <a:pt x="1752482" y="1774172"/>
                    </a:lnTo>
                    <a:cubicBezTo>
                      <a:pt x="1842531" y="1697977"/>
                      <a:pt x="1842531" y="1559441"/>
                      <a:pt x="1759409" y="1476319"/>
                    </a:cubicBezTo>
                    <a:lnTo>
                      <a:pt x="360194" y="42470"/>
                    </a:lnTo>
                    <a:cubicBezTo>
                      <a:pt x="304780" y="-12944"/>
                      <a:pt x="221658" y="-12944"/>
                      <a:pt x="166243" y="35543"/>
                    </a:cubicBezTo>
                    <a:lnTo>
                      <a:pt x="20781" y="167153"/>
                    </a:lnTo>
                    <a:cubicBezTo>
                      <a:pt x="-6927" y="194860"/>
                      <a:pt x="-6927" y="236421"/>
                      <a:pt x="20781" y="264128"/>
                    </a:cubicBezTo>
                    <a:lnTo>
                      <a:pt x="103902" y="347250"/>
                    </a:lnTo>
                    <a:lnTo>
                      <a:pt x="1489264" y="1732611"/>
                    </a:lnTo>
                    <a:lnTo>
                      <a:pt x="1586239" y="1836513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63" name="组合 262">
              <a:extLst>
                <a:ext uri="{FF2B5EF4-FFF2-40B4-BE49-F238E27FC236}">
                  <a16:creationId xmlns:a16="http://schemas.microsoft.com/office/drawing/2014/main" id="{7F37F6F9-7EEF-4C51-AACE-3F20F26E22D2}"/>
                </a:ext>
              </a:extLst>
            </p:cNvPr>
            <p:cNvGrpSpPr/>
            <p:nvPr/>
          </p:nvGrpSpPr>
          <p:grpSpPr>
            <a:xfrm rot="938189">
              <a:off x="1273442" y="1794427"/>
              <a:ext cx="4037688" cy="3885225"/>
              <a:chOff x="1276350" y="1772477"/>
              <a:chExt cx="4037688" cy="3885225"/>
            </a:xfrm>
            <a:solidFill>
              <a:srgbClr val="322153"/>
            </a:solidFill>
          </p:grpSpPr>
          <p:sp>
            <p:nvSpPr>
              <p:cNvPr id="264" name="任意多边形: 形状 263">
                <a:extLst>
                  <a:ext uri="{FF2B5EF4-FFF2-40B4-BE49-F238E27FC236}">
                    <a16:creationId xmlns:a16="http://schemas.microsoft.com/office/drawing/2014/main" id="{C2AF9724-AC00-42B1-98F5-A8D04010D450}"/>
                  </a:ext>
                </a:extLst>
              </p:cNvPr>
              <p:cNvSpPr/>
              <p:nvPr/>
            </p:nvSpPr>
            <p:spPr>
              <a:xfrm rot="20858260">
                <a:off x="4603455" y="2110744"/>
                <a:ext cx="429463" cy="429463"/>
              </a:xfrm>
              <a:custGeom>
                <a:avLst/>
                <a:gdLst>
                  <a:gd name="connsiteX0" fmla="*/ 311706 w 429462"/>
                  <a:gd name="connsiteY0" fmla="*/ 20780 h 429462"/>
                  <a:gd name="connsiteX1" fmla="*/ 20781 w 429462"/>
                  <a:gd name="connsiteY1" fmla="*/ 311706 h 429462"/>
                  <a:gd name="connsiteX2" fmla="*/ 20781 w 429462"/>
                  <a:gd name="connsiteY2" fmla="*/ 408682 h 429462"/>
                  <a:gd name="connsiteX3" fmla="*/ 69268 w 429462"/>
                  <a:gd name="connsiteY3" fmla="*/ 429462 h 429462"/>
                  <a:gd name="connsiteX4" fmla="*/ 117756 w 429462"/>
                  <a:gd name="connsiteY4" fmla="*/ 408682 h 429462"/>
                  <a:gd name="connsiteX5" fmla="*/ 408682 w 429462"/>
                  <a:gd name="connsiteY5" fmla="*/ 117756 h 429462"/>
                  <a:gd name="connsiteX6" fmla="*/ 408682 w 429462"/>
                  <a:gd name="connsiteY6" fmla="*/ 20780 h 429462"/>
                  <a:gd name="connsiteX7" fmla="*/ 311706 w 429462"/>
                  <a:gd name="connsiteY7" fmla="*/ 2078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9462" h="429462">
                    <a:moveTo>
                      <a:pt x="311706" y="20780"/>
                    </a:moveTo>
                    <a:lnTo>
                      <a:pt x="20781" y="311706"/>
                    </a:lnTo>
                    <a:cubicBezTo>
                      <a:pt x="-6927" y="339414"/>
                      <a:pt x="-6927" y="380974"/>
                      <a:pt x="20781" y="408682"/>
                    </a:cubicBezTo>
                    <a:cubicBezTo>
                      <a:pt x="34634" y="422535"/>
                      <a:pt x="55415" y="429462"/>
                      <a:pt x="69268" y="429462"/>
                    </a:cubicBezTo>
                    <a:cubicBezTo>
                      <a:pt x="83122" y="429462"/>
                      <a:pt x="103902" y="422535"/>
                      <a:pt x="117756" y="408682"/>
                    </a:cubicBezTo>
                    <a:lnTo>
                      <a:pt x="408682" y="117756"/>
                    </a:lnTo>
                    <a:cubicBezTo>
                      <a:pt x="436389" y="90048"/>
                      <a:pt x="436389" y="48488"/>
                      <a:pt x="408682" y="20780"/>
                    </a:cubicBezTo>
                    <a:cubicBezTo>
                      <a:pt x="380974" y="-6927"/>
                      <a:pt x="332487" y="-6927"/>
                      <a:pt x="311706" y="2078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65" name="任意多边形: 形状 264">
                <a:extLst>
                  <a:ext uri="{FF2B5EF4-FFF2-40B4-BE49-F238E27FC236}">
                    <a16:creationId xmlns:a16="http://schemas.microsoft.com/office/drawing/2014/main" id="{18E7C8EE-DF42-4AB5-9A0A-51758B784E29}"/>
                  </a:ext>
                </a:extLst>
              </p:cNvPr>
              <p:cNvSpPr/>
              <p:nvPr/>
            </p:nvSpPr>
            <p:spPr>
              <a:xfrm rot="20329061">
                <a:off x="4374356" y="1772477"/>
                <a:ext cx="267161" cy="414116"/>
              </a:xfrm>
              <a:custGeom>
                <a:avLst/>
                <a:gdLst>
                  <a:gd name="connsiteX0" fmla="*/ 60849 w 267161"/>
                  <a:gd name="connsiteY0" fmla="*/ 414116 h 414116"/>
                  <a:gd name="connsiteX1" fmla="*/ 123191 w 267161"/>
                  <a:gd name="connsiteY1" fmla="*/ 372556 h 414116"/>
                  <a:gd name="connsiteX2" fmla="*/ 261727 w 267161"/>
                  <a:gd name="connsiteY2" fmla="*/ 95483 h 414116"/>
                  <a:gd name="connsiteX3" fmla="*/ 234019 w 267161"/>
                  <a:gd name="connsiteY3" fmla="*/ 5435 h 414116"/>
                  <a:gd name="connsiteX4" fmla="*/ 143971 w 267161"/>
                  <a:gd name="connsiteY4" fmla="*/ 33142 h 414116"/>
                  <a:gd name="connsiteX5" fmla="*/ 5435 w 267161"/>
                  <a:gd name="connsiteY5" fmla="*/ 310214 h 414116"/>
                  <a:gd name="connsiteX6" fmla="*/ 33142 w 267161"/>
                  <a:gd name="connsiteY6" fmla="*/ 400263 h 414116"/>
                  <a:gd name="connsiteX7" fmla="*/ 60849 w 267161"/>
                  <a:gd name="connsiteY7" fmla="*/ 414116 h 41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7161" h="414116">
                    <a:moveTo>
                      <a:pt x="60849" y="414116"/>
                    </a:moveTo>
                    <a:cubicBezTo>
                      <a:pt x="88557" y="414116"/>
                      <a:pt x="109337" y="400263"/>
                      <a:pt x="123191" y="372556"/>
                    </a:cubicBezTo>
                    <a:lnTo>
                      <a:pt x="261727" y="95483"/>
                    </a:lnTo>
                    <a:cubicBezTo>
                      <a:pt x="275580" y="60849"/>
                      <a:pt x="261727" y="19288"/>
                      <a:pt x="234019" y="5435"/>
                    </a:cubicBezTo>
                    <a:cubicBezTo>
                      <a:pt x="199385" y="-8419"/>
                      <a:pt x="157825" y="5435"/>
                      <a:pt x="143971" y="33142"/>
                    </a:cubicBezTo>
                    <a:lnTo>
                      <a:pt x="5435" y="310214"/>
                    </a:lnTo>
                    <a:cubicBezTo>
                      <a:pt x="-8419" y="344848"/>
                      <a:pt x="5435" y="386409"/>
                      <a:pt x="33142" y="400263"/>
                    </a:cubicBezTo>
                    <a:cubicBezTo>
                      <a:pt x="40069" y="414116"/>
                      <a:pt x="46996" y="414116"/>
                      <a:pt x="60849" y="41411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266" name="任意多边形: 形状 265">
                <a:extLst>
                  <a:ext uri="{FF2B5EF4-FFF2-40B4-BE49-F238E27FC236}">
                    <a16:creationId xmlns:a16="http://schemas.microsoft.com/office/drawing/2014/main" id="{FE01DD8D-28B6-43A9-829A-8D8E172B546F}"/>
                  </a:ext>
                </a:extLst>
              </p:cNvPr>
              <p:cNvSpPr/>
              <p:nvPr/>
            </p:nvSpPr>
            <p:spPr>
              <a:xfrm rot="1349930">
                <a:off x="4899683" y="2635497"/>
                <a:ext cx="414355" cy="275454"/>
              </a:xfrm>
              <a:custGeom>
                <a:avLst/>
                <a:gdLst>
                  <a:gd name="connsiteX0" fmla="*/ 314543 w 414355"/>
                  <a:gd name="connsiteY0" fmla="*/ 5309 h 275454"/>
                  <a:gd name="connsiteX1" fmla="*/ 37471 w 414355"/>
                  <a:gd name="connsiteY1" fmla="*/ 143845 h 275454"/>
                  <a:gd name="connsiteX2" fmla="*/ 9764 w 414355"/>
                  <a:gd name="connsiteY2" fmla="*/ 233893 h 275454"/>
                  <a:gd name="connsiteX3" fmla="*/ 72105 w 414355"/>
                  <a:gd name="connsiteY3" fmla="*/ 275454 h 275454"/>
                  <a:gd name="connsiteX4" fmla="*/ 99812 w 414355"/>
                  <a:gd name="connsiteY4" fmla="*/ 268527 h 275454"/>
                  <a:gd name="connsiteX5" fmla="*/ 376885 w 414355"/>
                  <a:gd name="connsiteY5" fmla="*/ 129991 h 275454"/>
                  <a:gd name="connsiteX6" fmla="*/ 404592 w 414355"/>
                  <a:gd name="connsiteY6" fmla="*/ 39943 h 275454"/>
                  <a:gd name="connsiteX7" fmla="*/ 314543 w 414355"/>
                  <a:gd name="connsiteY7" fmla="*/ 5309 h 27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355" h="275454">
                    <a:moveTo>
                      <a:pt x="314543" y="5309"/>
                    </a:moveTo>
                    <a:lnTo>
                      <a:pt x="37471" y="143845"/>
                    </a:lnTo>
                    <a:cubicBezTo>
                      <a:pt x="2837" y="157699"/>
                      <a:pt x="-11017" y="199259"/>
                      <a:pt x="9764" y="233893"/>
                    </a:cubicBezTo>
                    <a:cubicBezTo>
                      <a:pt x="23617" y="261601"/>
                      <a:pt x="44398" y="275454"/>
                      <a:pt x="72105" y="275454"/>
                    </a:cubicBezTo>
                    <a:cubicBezTo>
                      <a:pt x="85959" y="275454"/>
                      <a:pt x="92885" y="275454"/>
                      <a:pt x="99812" y="268527"/>
                    </a:cubicBezTo>
                    <a:lnTo>
                      <a:pt x="376885" y="129991"/>
                    </a:lnTo>
                    <a:cubicBezTo>
                      <a:pt x="411519" y="116138"/>
                      <a:pt x="425372" y="74577"/>
                      <a:pt x="404592" y="39943"/>
                    </a:cubicBezTo>
                    <a:cubicBezTo>
                      <a:pt x="383811" y="5309"/>
                      <a:pt x="349177" y="-8545"/>
                      <a:pt x="314543" y="530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67" name="任意多边形: 形状 266">
                <a:extLst>
                  <a:ext uri="{FF2B5EF4-FFF2-40B4-BE49-F238E27FC236}">
                    <a16:creationId xmlns:a16="http://schemas.microsoft.com/office/drawing/2014/main" id="{902E5E03-D063-4D58-87C0-6CD4152B161F}"/>
                  </a:ext>
                </a:extLst>
              </p:cNvPr>
              <p:cNvSpPr/>
              <p:nvPr/>
            </p:nvSpPr>
            <p:spPr>
              <a:xfrm>
                <a:off x="1276350" y="1829748"/>
                <a:ext cx="3795890" cy="3827954"/>
              </a:xfrm>
              <a:custGeom>
                <a:avLst/>
                <a:gdLst>
                  <a:gd name="connsiteX0" fmla="*/ 2015701 w 3795890"/>
                  <a:gd name="connsiteY0" fmla="*/ 59772 h 3827954"/>
                  <a:gd name="connsiteX1" fmla="*/ 1870238 w 3795890"/>
                  <a:gd name="connsiteY1" fmla="*/ 191381 h 3827954"/>
                  <a:gd name="connsiteX2" fmla="*/ 1828677 w 3795890"/>
                  <a:gd name="connsiteY2" fmla="*/ 288357 h 3827954"/>
                  <a:gd name="connsiteX3" fmla="*/ 1870238 w 3795890"/>
                  <a:gd name="connsiteY3" fmla="*/ 385332 h 3827954"/>
                  <a:gd name="connsiteX4" fmla="*/ 1911799 w 3795890"/>
                  <a:gd name="connsiteY4" fmla="*/ 426893 h 3827954"/>
                  <a:gd name="connsiteX5" fmla="*/ 325560 w 3795890"/>
                  <a:gd name="connsiteY5" fmla="*/ 2795861 h 3827954"/>
                  <a:gd name="connsiteX6" fmla="*/ 304780 w 3795890"/>
                  <a:gd name="connsiteY6" fmla="*/ 2782007 h 3827954"/>
                  <a:gd name="connsiteX7" fmla="*/ 207804 w 3795890"/>
                  <a:gd name="connsiteY7" fmla="*/ 2740446 h 3827954"/>
                  <a:gd name="connsiteX8" fmla="*/ 207804 w 3795890"/>
                  <a:gd name="connsiteY8" fmla="*/ 2740446 h 3827954"/>
                  <a:gd name="connsiteX9" fmla="*/ 110829 w 3795890"/>
                  <a:gd name="connsiteY9" fmla="*/ 2782007 h 3827954"/>
                  <a:gd name="connsiteX10" fmla="*/ 0 w 3795890"/>
                  <a:gd name="connsiteY10" fmla="*/ 3059079 h 3827954"/>
                  <a:gd name="connsiteX11" fmla="*/ 117756 w 3795890"/>
                  <a:gd name="connsiteY11" fmla="*/ 3336152 h 3827954"/>
                  <a:gd name="connsiteX12" fmla="*/ 491803 w 3795890"/>
                  <a:gd name="connsiteY12" fmla="*/ 3710199 h 3827954"/>
                  <a:gd name="connsiteX13" fmla="*/ 768876 w 3795890"/>
                  <a:gd name="connsiteY13" fmla="*/ 3827955 h 3827954"/>
                  <a:gd name="connsiteX14" fmla="*/ 1045948 w 3795890"/>
                  <a:gd name="connsiteY14" fmla="*/ 3710199 h 3827954"/>
                  <a:gd name="connsiteX15" fmla="*/ 1045948 w 3795890"/>
                  <a:gd name="connsiteY15" fmla="*/ 3516249 h 3827954"/>
                  <a:gd name="connsiteX16" fmla="*/ 1011314 w 3795890"/>
                  <a:gd name="connsiteY16" fmla="*/ 3481615 h 3827954"/>
                  <a:gd name="connsiteX17" fmla="*/ 1246825 w 3795890"/>
                  <a:gd name="connsiteY17" fmla="*/ 3329225 h 3827954"/>
                  <a:gd name="connsiteX18" fmla="*/ 1329947 w 3795890"/>
                  <a:gd name="connsiteY18" fmla="*/ 3460834 h 3827954"/>
                  <a:gd name="connsiteX19" fmla="*/ 1738629 w 3795890"/>
                  <a:gd name="connsiteY19" fmla="*/ 3682492 h 3827954"/>
                  <a:gd name="connsiteX20" fmla="*/ 2001847 w 3795890"/>
                  <a:gd name="connsiteY20" fmla="*/ 3606297 h 3827954"/>
                  <a:gd name="connsiteX21" fmla="*/ 2147310 w 3795890"/>
                  <a:gd name="connsiteY21" fmla="*/ 2934397 h 3827954"/>
                  <a:gd name="connsiteX22" fmla="*/ 2057262 w 3795890"/>
                  <a:gd name="connsiteY22" fmla="*/ 2788934 h 3827954"/>
                  <a:gd name="connsiteX23" fmla="*/ 3394136 w 3795890"/>
                  <a:gd name="connsiteY23" fmla="*/ 1902303 h 3827954"/>
                  <a:gd name="connsiteX24" fmla="*/ 3449550 w 3795890"/>
                  <a:gd name="connsiteY24" fmla="*/ 1957717 h 3827954"/>
                  <a:gd name="connsiteX25" fmla="*/ 3636574 w 3795890"/>
                  <a:gd name="connsiteY25" fmla="*/ 1957717 h 3827954"/>
                  <a:gd name="connsiteX26" fmla="*/ 3705842 w 3795890"/>
                  <a:gd name="connsiteY26" fmla="*/ 1895376 h 3827954"/>
                  <a:gd name="connsiteX27" fmla="*/ 3795890 w 3795890"/>
                  <a:gd name="connsiteY27" fmla="*/ 1701425 h 3827954"/>
                  <a:gd name="connsiteX28" fmla="*/ 3719696 w 3795890"/>
                  <a:gd name="connsiteY28" fmla="*/ 1500548 h 3827954"/>
                  <a:gd name="connsiteX29" fmla="*/ 2306627 w 3795890"/>
                  <a:gd name="connsiteY29" fmla="*/ 59772 h 3827954"/>
                  <a:gd name="connsiteX30" fmla="*/ 2015701 w 3795890"/>
                  <a:gd name="connsiteY30" fmla="*/ 59772 h 3827954"/>
                  <a:gd name="connsiteX31" fmla="*/ 581852 w 3795890"/>
                  <a:gd name="connsiteY31" fmla="*/ 3613224 h 3827954"/>
                  <a:gd name="connsiteX32" fmla="*/ 207804 w 3795890"/>
                  <a:gd name="connsiteY32" fmla="*/ 3239176 h 3827954"/>
                  <a:gd name="connsiteX33" fmla="*/ 138536 w 3795890"/>
                  <a:gd name="connsiteY33" fmla="*/ 3059079 h 3827954"/>
                  <a:gd name="connsiteX34" fmla="*/ 214731 w 3795890"/>
                  <a:gd name="connsiteY34" fmla="*/ 2878982 h 3827954"/>
                  <a:gd name="connsiteX35" fmla="*/ 942046 w 3795890"/>
                  <a:gd name="connsiteY35" fmla="*/ 3613224 h 3827954"/>
                  <a:gd name="connsiteX36" fmla="*/ 581852 w 3795890"/>
                  <a:gd name="connsiteY36" fmla="*/ 3613224 h 3827954"/>
                  <a:gd name="connsiteX37" fmla="*/ 2022628 w 3795890"/>
                  <a:gd name="connsiteY37" fmla="*/ 3010592 h 3827954"/>
                  <a:gd name="connsiteX38" fmla="*/ 1918726 w 3795890"/>
                  <a:gd name="connsiteY38" fmla="*/ 3488541 h 3827954"/>
                  <a:gd name="connsiteX39" fmla="*/ 1440776 w 3795890"/>
                  <a:gd name="connsiteY39" fmla="*/ 3384639 h 3827954"/>
                  <a:gd name="connsiteX40" fmla="*/ 1357654 w 3795890"/>
                  <a:gd name="connsiteY40" fmla="*/ 3253030 h 3827954"/>
                  <a:gd name="connsiteX41" fmla="*/ 1932579 w 3795890"/>
                  <a:gd name="connsiteY41" fmla="*/ 2872056 h 3827954"/>
                  <a:gd name="connsiteX42" fmla="*/ 2022628 w 3795890"/>
                  <a:gd name="connsiteY42" fmla="*/ 3010592 h 3827954"/>
                  <a:gd name="connsiteX43" fmla="*/ 3643501 w 3795890"/>
                  <a:gd name="connsiteY43" fmla="*/ 1694498 h 3827954"/>
                  <a:gd name="connsiteX44" fmla="*/ 3595013 w 3795890"/>
                  <a:gd name="connsiteY44" fmla="*/ 1791474 h 3827954"/>
                  <a:gd name="connsiteX45" fmla="*/ 3525745 w 3795890"/>
                  <a:gd name="connsiteY45" fmla="*/ 1853815 h 3827954"/>
                  <a:gd name="connsiteX46" fmla="*/ 3428770 w 3795890"/>
                  <a:gd name="connsiteY46" fmla="*/ 1763766 h 3827954"/>
                  <a:gd name="connsiteX47" fmla="*/ 3338721 w 3795890"/>
                  <a:gd name="connsiteY47" fmla="*/ 1756840 h 3827954"/>
                  <a:gd name="connsiteX48" fmla="*/ 1911799 w 3795890"/>
                  <a:gd name="connsiteY48" fmla="*/ 2712739 h 3827954"/>
                  <a:gd name="connsiteX49" fmla="*/ 1911799 w 3795890"/>
                  <a:gd name="connsiteY49" fmla="*/ 2712739 h 3827954"/>
                  <a:gd name="connsiteX50" fmla="*/ 1911799 w 3795890"/>
                  <a:gd name="connsiteY50" fmla="*/ 2712739 h 3827954"/>
                  <a:gd name="connsiteX51" fmla="*/ 1219118 w 3795890"/>
                  <a:gd name="connsiteY51" fmla="*/ 3169908 h 3827954"/>
                  <a:gd name="connsiteX52" fmla="*/ 1219118 w 3795890"/>
                  <a:gd name="connsiteY52" fmla="*/ 3169908 h 3827954"/>
                  <a:gd name="connsiteX53" fmla="*/ 1219118 w 3795890"/>
                  <a:gd name="connsiteY53" fmla="*/ 3169908 h 3827954"/>
                  <a:gd name="connsiteX54" fmla="*/ 907412 w 3795890"/>
                  <a:gd name="connsiteY54" fmla="*/ 3377713 h 3827954"/>
                  <a:gd name="connsiteX55" fmla="*/ 422535 w 3795890"/>
                  <a:gd name="connsiteY55" fmla="*/ 2892836 h 3827954"/>
                  <a:gd name="connsiteX56" fmla="*/ 2008774 w 3795890"/>
                  <a:gd name="connsiteY56" fmla="*/ 530795 h 3827954"/>
                  <a:gd name="connsiteX57" fmla="*/ 3089356 w 3795890"/>
                  <a:gd name="connsiteY57" fmla="*/ 1611377 h 3827954"/>
                  <a:gd name="connsiteX58" fmla="*/ 3186331 w 3795890"/>
                  <a:gd name="connsiteY58" fmla="*/ 1611377 h 3827954"/>
                  <a:gd name="connsiteX59" fmla="*/ 3186331 w 3795890"/>
                  <a:gd name="connsiteY59" fmla="*/ 1514401 h 3827954"/>
                  <a:gd name="connsiteX60" fmla="*/ 2057262 w 3795890"/>
                  <a:gd name="connsiteY60" fmla="*/ 378405 h 3827954"/>
                  <a:gd name="connsiteX61" fmla="*/ 2057262 w 3795890"/>
                  <a:gd name="connsiteY61" fmla="*/ 378405 h 3827954"/>
                  <a:gd name="connsiteX62" fmla="*/ 1974140 w 3795890"/>
                  <a:gd name="connsiteY62" fmla="*/ 295283 h 3827954"/>
                  <a:gd name="connsiteX63" fmla="*/ 2119603 w 3795890"/>
                  <a:gd name="connsiteY63" fmla="*/ 163674 h 3827954"/>
                  <a:gd name="connsiteX64" fmla="*/ 2216578 w 3795890"/>
                  <a:gd name="connsiteY64" fmla="*/ 163674 h 3827954"/>
                  <a:gd name="connsiteX65" fmla="*/ 3615794 w 3795890"/>
                  <a:gd name="connsiteY65" fmla="*/ 1597523 h 3827954"/>
                  <a:gd name="connsiteX66" fmla="*/ 3643501 w 3795890"/>
                  <a:gd name="connsiteY66" fmla="*/ 1694498 h 382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795890" h="3827954">
                    <a:moveTo>
                      <a:pt x="2015701" y="59772"/>
                    </a:moveTo>
                    <a:lnTo>
                      <a:pt x="1870238" y="191381"/>
                    </a:lnTo>
                    <a:cubicBezTo>
                      <a:pt x="1849458" y="219088"/>
                      <a:pt x="1828677" y="253723"/>
                      <a:pt x="1828677" y="288357"/>
                    </a:cubicBezTo>
                    <a:cubicBezTo>
                      <a:pt x="1828677" y="322991"/>
                      <a:pt x="1842531" y="364551"/>
                      <a:pt x="1870238" y="385332"/>
                    </a:cubicBezTo>
                    <a:lnTo>
                      <a:pt x="1911799" y="426893"/>
                    </a:lnTo>
                    <a:lnTo>
                      <a:pt x="325560" y="2795861"/>
                    </a:lnTo>
                    <a:lnTo>
                      <a:pt x="304780" y="2782007"/>
                    </a:lnTo>
                    <a:cubicBezTo>
                      <a:pt x="277072" y="2754300"/>
                      <a:pt x="242438" y="2740446"/>
                      <a:pt x="207804" y="2740446"/>
                    </a:cubicBezTo>
                    <a:lnTo>
                      <a:pt x="207804" y="2740446"/>
                    </a:lnTo>
                    <a:cubicBezTo>
                      <a:pt x="173170" y="2740446"/>
                      <a:pt x="138536" y="2754300"/>
                      <a:pt x="110829" y="2782007"/>
                    </a:cubicBezTo>
                    <a:cubicBezTo>
                      <a:pt x="41561" y="2851275"/>
                      <a:pt x="0" y="2955177"/>
                      <a:pt x="0" y="3059079"/>
                    </a:cubicBezTo>
                    <a:cubicBezTo>
                      <a:pt x="0" y="3162981"/>
                      <a:pt x="41561" y="3259957"/>
                      <a:pt x="117756" y="3336152"/>
                    </a:cubicBezTo>
                    <a:lnTo>
                      <a:pt x="491803" y="3710199"/>
                    </a:lnTo>
                    <a:cubicBezTo>
                      <a:pt x="567998" y="3786394"/>
                      <a:pt x="664974" y="3827955"/>
                      <a:pt x="768876" y="3827955"/>
                    </a:cubicBezTo>
                    <a:cubicBezTo>
                      <a:pt x="872778" y="3827955"/>
                      <a:pt x="969753" y="3786394"/>
                      <a:pt x="1045948" y="3710199"/>
                    </a:cubicBezTo>
                    <a:cubicBezTo>
                      <a:pt x="1101362" y="3654785"/>
                      <a:pt x="1101362" y="3571663"/>
                      <a:pt x="1045948" y="3516249"/>
                    </a:cubicBezTo>
                    <a:lnTo>
                      <a:pt x="1011314" y="3481615"/>
                    </a:lnTo>
                    <a:lnTo>
                      <a:pt x="1246825" y="3329225"/>
                    </a:lnTo>
                    <a:lnTo>
                      <a:pt x="1329947" y="3460834"/>
                    </a:lnTo>
                    <a:cubicBezTo>
                      <a:pt x="1419996" y="3606297"/>
                      <a:pt x="1579312" y="3682492"/>
                      <a:pt x="1738629" y="3682492"/>
                    </a:cubicBezTo>
                    <a:cubicBezTo>
                      <a:pt x="1828677" y="3682492"/>
                      <a:pt x="1918726" y="3654785"/>
                      <a:pt x="2001847" y="3606297"/>
                    </a:cubicBezTo>
                    <a:cubicBezTo>
                      <a:pt x="2223505" y="3460834"/>
                      <a:pt x="2292773" y="3162981"/>
                      <a:pt x="2147310" y="2934397"/>
                    </a:cubicBezTo>
                    <a:lnTo>
                      <a:pt x="2057262" y="2788934"/>
                    </a:lnTo>
                    <a:lnTo>
                      <a:pt x="3394136" y="1902303"/>
                    </a:lnTo>
                    <a:lnTo>
                      <a:pt x="3449550" y="1957717"/>
                    </a:lnTo>
                    <a:cubicBezTo>
                      <a:pt x="3504964" y="2006205"/>
                      <a:pt x="3588086" y="2013131"/>
                      <a:pt x="3636574" y="1957717"/>
                    </a:cubicBezTo>
                    <a:lnTo>
                      <a:pt x="3705842" y="1895376"/>
                    </a:lnTo>
                    <a:cubicBezTo>
                      <a:pt x="3761256" y="1846888"/>
                      <a:pt x="3795890" y="1777620"/>
                      <a:pt x="3795890" y="1701425"/>
                    </a:cubicBezTo>
                    <a:cubicBezTo>
                      <a:pt x="3795890" y="1625230"/>
                      <a:pt x="3768183" y="1555962"/>
                      <a:pt x="3719696" y="1500548"/>
                    </a:cubicBezTo>
                    <a:lnTo>
                      <a:pt x="2306627" y="59772"/>
                    </a:lnTo>
                    <a:cubicBezTo>
                      <a:pt x="2230432" y="-16423"/>
                      <a:pt x="2098823" y="-23350"/>
                      <a:pt x="2015701" y="59772"/>
                    </a:cubicBezTo>
                    <a:close/>
                    <a:moveTo>
                      <a:pt x="581852" y="3613224"/>
                    </a:moveTo>
                    <a:lnTo>
                      <a:pt x="207804" y="3239176"/>
                    </a:lnTo>
                    <a:cubicBezTo>
                      <a:pt x="159317" y="3190689"/>
                      <a:pt x="138536" y="3128347"/>
                      <a:pt x="138536" y="3059079"/>
                    </a:cubicBezTo>
                    <a:cubicBezTo>
                      <a:pt x="138536" y="2989811"/>
                      <a:pt x="166243" y="2927470"/>
                      <a:pt x="214731" y="2878982"/>
                    </a:cubicBezTo>
                    <a:lnTo>
                      <a:pt x="942046" y="3613224"/>
                    </a:lnTo>
                    <a:cubicBezTo>
                      <a:pt x="845070" y="3710199"/>
                      <a:pt x="685754" y="3710199"/>
                      <a:pt x="581852" y="3613224"/>
                    </a:cubicBezTo>
                    <a:close/>
                    <a:moveTo>
                      <a:pt x="2022628" y="3010592"/>
                    </a:moveTo>
                    <a:cubicBezTo>
                      <a:pt x="2126530" y="3169908"/>
                      <a:pt x="2078042" y="3384639"/>
                      <a:pt x="1918726" y="3488541"/>
                    </a:cubicBezTo>
                    <a:cubicBezTo>
                      <a:pt x="1759409" y="3592443"/>
                      <a:pt x="1544678" y="3543956"/>
                      <a:pt x="1440776" y="3384639"/>
                    </a:cubicBezTo>
                    <a:lnTo>
                      <a:pt x="1357654" y="3253030"/>
                    </a:lnTo>
                    <a:lnTo>
                      <a:pt x="1932579" y="2872056"/>
                    </a:lnTo>
                    <a:lnTo>
                      <a:pt x="2022628" y="3010592"/>
                    </a:lnTo>
                    <a:close/>
                    <a:moveTo>
                      <a:pt x="3643501" y="1694498"/>
                    </a:moveTo>
                    <a:cubicBezTo>
                      <a:pt x="3643501" y="1729132"/>
                      <a:pt x="3622720" y="1770693"/>
                      <a:pt x="3595013" y="1791474"/>
                    </a:cubicBezTo>
                    <a:lnTo>
                      <a:pt x="3525745" y="1853815"/>
                    </a:lnTo>
                    <a:lnTo>
                      <a:pt x="3428770" y="1763766"/>
                    </a:lnTo>
                    <a:cubicBezTo>
                      <a:pt x="3407989" y="1742986"/>
                      <a:pt x="3366428" y="1736059"/>
                      <a:pt x="3338721" y="1756840"/>
                    </a:cubicBez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907412" y="3377713"/>
                    </a:lnTo>
                    <a:lnTo>
                      <a:pt x="422535" y="2892836"/>
                    </a:lnTo>
                    <a:lnTo>
                      <a:pt x="2008774" y="530795"/>
                    </a:lnTo>
                    <a:lnTo>
                      <a:pt x="3089356" y="1611377"/>
                    </a:lnTo>
                    <a:cubicBezTo>
                      <a:pt x="3117063" y="1639084"/>
                      <a:pt x="3158624" y="1639084"/>
                      <a:pt x="3186331" y="1611377"/>
                    </a:cubicBezTo>
                    <a:cubicBezTo>
                      <a:pt x="3214039" y="1583669"/>
                      <a:pt x="3214039" y="1542109"/>
                      <a:pt x="3186331" y="1514401"/>
                    </a:cubicBezTo>
                    <a:lnTo>
                      <a:pt x="2057262" y="378405"/>
                    </a:lnTo>
                    <a:lnTo>
                      <a:pt x="2057262" y="378405"/>
                    </a:lnTo>
                    <a:lnTo>
                      <a:pt x="1974140" y="295283"/>
                    </a:lnTo>
                    <a:lnTo>
                      <a:pt x="2119603" y="163674"/>
                    </a:lnTo>
                    <a:cubicBezTo>
                      <a:pt x="2147310" y="135967"/>
                      <a:pt x="2188871" y="135967"/>
                      <a:pt x="2216578" y="163674"/>
                    </a:cubicBezTo>
                    <a:lnTo>
                      <a:pt x="3615794" y="1597523"/>
                    </a:lnTo>
                    <a:cubicBezTo>
                      <a:pt x="3636574" y="1618303"/>
                      <a:pt x="3650428" y="1659864"/>
                      <a:pt x="3643501" y="169449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68" name="任意多边形: 形状 267">
                <a:extLst>
                  <a:ext uri="{FF2B5EF4-FFF2-40B4-BE49-F238E27FC236}">
                    <a16:creationId xmlns:a16="http://schemas.microsoft.com/office/drawing/2014/main" id="{906AB3F5-DC4E-4C05-B160-7720255641CD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692680" cy="692680"/>
              </a:xfrm>
              <a:custGeom>
                <a:avLst/>
                <a:gdLst>
                  <a:gd name="connsiteX0" fmla="*/ 574925 w 692680"/>
                  <a:gd name="connsiteY0" fmla="*/ 20780 h 692680"/>
                  <a:gd name="connsiteX1" fmla="*/ 20780 w 692680"/>
                  <a:gd name="connsiteY1" fmla="*/ 574925 h 692680"/>
                  <a:gd name="connsiteX2" fmla="*/ 20780 w 692680"/>
                  <a:gd name="connsiteY2" fmla="*/ 671900 h 692680"/>
                  <a:gd name="connsiteX3" fmla="*/ 69268 w 692680"/>
                  <a:gd name="connsiteY3" fmla="*/ 692681 h 692680"/>
                  <a:gd name="connsiteX4" fmla="*/ 117756 w 692680"/>
                  <a:gd name="connsiteY4" fmla="*/ 671900 h 692680"/>
                  <a:gd name="connsiteX5" fmla="*/ 671900 w 692680"/>
                  <a:gd name="connsiteY5" fmla="*/ 117756 h 692680"/>
                  <a:gd name="connsiteX6" fmla="*/ 671900 w 692680"/>
                  <a:gd name="connsiteY6" fmla="*/ 20780 h 692680"/>
                  <a:gd name="connsiteX7" fmla="*/ 574925 w 692680"/>
                  <a:gd name="connsiteY7" fmla="*/ 20780 h 69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2680" h="692680">
                    <a:moveTo>
                      <a:pt x="574925" y="20780"/>
                    </a:moveTo>
                    <a:lnTo>
                      <a:pt x="20780" y="574925"/>
                    </a:lnTo>
                    <a:cubicBezTo>
                      <a:pt x="-6927" y="602632"/>
                      <a:pt x="-6927" y="644193"/>
                      <a:pt x="20780" y="671900"/>
                    </a:cubicBezTo>
                    <a:cubicBezTo>
                      <a:pt x="34634" y="685754"/>
                      <a:pt x="55414" y="692681"/>
                      <a:pt x="69268" y="692681"/>
                    </a:cubicBezTo>
                    <a:cubicBezTo>
                      <a:pt x="83122" y="692681"/>
                      <a:pt x="103902" y="685754"/>
                      <a:pt x="117756" y="671900"/>
                    </a:cubicBezTo>
                    <a:lnTo>
                      <a:pt x="671900" y="117756"/>
                    </a:lnTo>
                    <a:cubicBezTo>
                      <a:pt x="699607" y="90048"/>
                      <a:pt x="699607" y="48488"/>
                      <a:pt x="671900" y="20780"/>
                    </a:cubicBezTo>
                    <a:cubicBezTo>
                      <a:pt x="644193" y="-6927"/>
                      <a:pt x="602632" y="-6927"/>
                      <a:pt x="574925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69" name="任意多边形: 形状 268">
                <a:extLst>
                  <a:ext uri="{FF2B5EF4-FFF2-40B4-BE49-F238E27FC236}">
                    <a16:creationId xmlns:a16="http://schemas.microsoft.com/office/drawing/2014/main" id="{1B9DF079-7DED-4895-979B-7928A38A79B3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415608" cy="415608"/>
              </a:xfrm>
              <a:custGeom>
                <a:avLst/>
                <a:gdLst>
                  <a:gd name="connsiteX0" fmla="*/ 69268 w 415608"/>
                  <a:gd name="connsiteY0" fmla="*/ 415608 h 415608"/>
                  <a:gd name="connsiteX1" fmla="*/ 117756 w 415608"/>
                  <a:gd name="connsiteY1" fmla="*/ 394828 h 415608"/>
                  <a:gd name="connsiteX2" fmla="*/ 394828 w 415608"/>
                  <a:gd name="connsiteY2" fmla="*/ 117756 h 415608"/>
                  <a:gd name="connsiteX3" fmla="*/ 394828 w 415608"/>
                  <a:gd name="connsiteY3" fmla="*/ 20780 h 415608"/>
                  <a:gd name="connsiteX4" fmla="*/ 297853 w 415608"/>
                  <a:gd name="connsiteY4" fmla="*/ 20780 h 415608"/>
                  <a:gd name="connsiteX5" fmla="*/ 20780 w 415608"/>
                  <a:gd name="connsiteY5" fmla="*/ 297853 h 415608"/>
                  <a:gd name="connsiteX6" fmla="*/ 20780 w 415608"/>
                  <a:gd name="connsiteY6" fmla="*/ 394828 h 415608"/>
                  <a:gd name="connsiteX7" fmla="*/ 69268 w 415608"/>
                  <a:gd name="connsiteY7" fmla="*/ 415608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69268" y="415608"/>
                    </a:moveTo>
                    <a:cubicBezTo>
                      <a:pt x="90048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70" name="任意多边形: 形状 269">
                <a:extLst>
                  <a:ext uri="{FF2B5EF4-FFF2-40B4-BE49-F238E27FC236}">
                    <a16:creationId xmlns:a16="http://schemas.microsoft.com/office/drawing/2014/main" id="{B45C5553-32FE-4F88-8335-89355930C5A3}"/>
                  </a:ext>
                </a:extLst>
              </p:cNvPr>
              <p:cNvSpPr/>
              <p:nvPr/>
            </p:nvSpPr>
            <p:spPr>
              <a:xfrm>
                <a:off x="3077319" y="3711270"/>
                <a:ext cx="415608" cy="415608"/>
              </a:xfrm>
              <a:custGeom>
                <a:avLst/>
                <a:gdLst>
                  <a:gd name="connsiteX0" fmla="*/ 297853 w 415608"/>
                  <a:gd name="connsiteY0" fmla="*/ 20780 h 415608"/>
                  <a:gd name="connsiteX1" fmla="*/ 20780 w 415608"/>
                  <a:gd name="connsiteY1" fmla="*/ 297853 h 415608"/>
                  <a:gd name="connsiteX2" fmla="*/ 20780 w 415608"/>
                  <a:gd name="connsiteY2" fmla="*/ 394828 h 415608"/>
                  <a:gd name="connsiteX3" fmla="*/ 69268 w 415608"/>
                  <a:gd name="connsiteY3" fmla="*/ 415608 h 415608"/>
                  <a:gd name="connsiteX4" fmla="*/ 117756 w 415608"/>
                  <a:gd name="connsiteY4" fmla="*/ 394828 h 415608"/>
                  <a:gd name="connsiteX5" fmla="*/ 394828 w 415608"/>
                  <a:gd name="connsiteY5" fmla="*/ 117756 h 415608"/>
                  <a:gd name="connsiteX6" fmla="*/ 394828 w 415608"/>
                  <a:gd name="connsiteY6" fmla="*/ 20780 h 415608"/>
                  <a:gd name="connsiteX7" fmla="*/ 297853 w 415608"/>
                  <a:gd name="connsiteY7" fmla="*/ 20780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297853" y="20780"/>
                    </a:move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ubicBezTo>
                      <a:pt x="83122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494914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  <a:t>谢谢您的聆听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b="0" dirty="0">
                <a:latin typeface="+mn-lt"/>
                <a:ea typeface="+mn-ea"/>
                <a:cs typeface="+mn-ea"/>
                <a:sym typeface="+mn-lt"/>
              </a:rPr>
              <a:t>疫情防护，大家一起努力！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20XX/01/01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汇报人：</a:t>
            </a:r>
            <a:r>
              <a:rPr lang="en-US" altLang="zh-CN" dirty="0" err="1">
                <a:cs typeface="+mn-ea"/>
                <a:sym typeface="+mn-lt"/>
              </a:rPr>
              <a:t>OfficePLUS</a:t>
            </a:r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B1124D76-E719-4004-8956-88041FF51FBA}"/>
              </a:ext>
            </a:extLst>
          </p:cNvPr>
          <p:cNvGrpSpPr/>
          <p:nvPr/>
        </p:nvGrpSpPr>
        <p:grpSpPr>
          <a:xfrm>
            <a:off x="189593" y="181011"/>
            <a:ext cx="11812814" cy="6495979"/>
            <a:chOff x="188686" y="172499"/>
            <a:chExt cx="11713028" cy="6387958"/>
          </a:xfrm>
        </p:grpSpPr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73089E73-E356-4A5E-9683-F2C57E53B46F}"/>
                </a:ext>
              </a:extLst>
            </p:cNvPr>
            <p:cNvSpPr/>
            <p:nvPr/>
          </p:nvSpPr>
          <p:spPr>
            <a:xfrm>
              <a:off x="319314" y="304800"/>
              <a:ext cx="11582400" cy="6255657"/>
            </a:xfrm>
            <a:prstGeom prst="rect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1EA6DB1C-B589-4502-A0DB-078E651D089E}"/>
                </a:ext>
              </a:extLst>
            </p:cNvPr>
            <p:cNvSpPr/>
            <p:nvPr/>
          </p:nvSpPr>
          <p:spPr>
            <a:xfrm>
              <a:off x="188686" y="172499"/>
              <a:ext cx="11582400" cy="6255657"/>
            </a:xfrm>
            <a:prstGeom prst="rect">
              <a:avLst/>
            </a:prstGeom>
            <a:noFill/>
            <a:ln w="254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ACECF45B-5E47-4948-BE56-C466A516F032}"/>
              </a:ext>
            </a:extLst>
          </p:cNvPr>
          <p:cNvSpPr/>
          <p:nvPr/>
        </p:nvSpPr>
        <p:spPr>
          <a:xfrm>
            <a:off x="0" y="0"/>
            <a:ext cx="12192000" cy="2093976"/>
          </a:xfrm>
          <a:prstGeom prst="rect">
            <a:avLst/>
          </a:prstGeom>
          <a:solidFill>
            <a:srgbClr val="ABC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1819135"/>
            <a:ext cx="12192000" cy="3857428"/>
            <a:chOff x="0" y="1819135"/>
            <a:chExt cx="12192000" cy="3857428"/>
          </a:xfrm>
        </p:grpSpPr>
        <p:cxnSp>
          <p:nvCxnSpPr>
            <p:cNvPr id="7" name="直接连接符 6"/>
            <p:cNvCxnSpPr/>
            <p:nvPr/>
          </p:nvCxnSpPr>
          <p:spPr>
            <a:xfrm>
              <a:off x="0" y="2092014"/>
              <a:ext cx="12192000" cy="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组合 7"/>
            <p:cNvGrpSpPr/>
            <p:nvPr/>
          </p:nvGrpSpPr>
          <p:grpSpPr>
            <a:xfrm>
              <a:off x="2989667" y="2937844"/>
              <a:ext cx="3537719" cy="1085850"/>
              <a:chOff x="1857452" y="3069409"/>
              <a:chExt cx="3537719" cy="1085850"/>
            </a:xfrm>
          </p:grpSpPr>
          <p:sp>
            <p:nvSpPr>
              <p:cNvPr id="24" name="矩形: 圆角 23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1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5" name="组合 24"/>
              <p:cNvGrpSpPr/>
              <p:nvPr/>
            </p:nvGrpSpPr>
            <p:grpSpPr>
              <a:xfrm>
                <a:off x="2741709" y="3069409"/>
                <a:ext cx="2653462" cy="1085850"/>
                <a:chOff x="5162831" y="2886075"/>
                <a:chExt cx="2653462" cy="1085850"/>
              </a:xfrm>
            </p:grpSpPr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endParaRPr lang="en-US" altLang="zh-CN" sz="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  <p:sp>
              <p:nvSpPr>
                <p:cNvPr id="27" name="矩形 26"/>
                <p:cNvSpPr/>
                <p:nvPr/>
              </p:nvSpPr>
              <p:spPr>
                <a:xfrm>
                  <a:off x="5162831" y="2886075"/>
                  <a:ext cx="2653462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什么是冠状病毒</a:t>
                  </a: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6439038" y="2937844"/>
              <a:ext cx="3537719" cy="1085850"/>
              <a:chOff x="1857452" y="3069409"/>
              <a:chExt cx="3537719" cy="1085850"/>
            </a:xfrm>
          </p:grpSpPr>
          <p:sp>
            <p:nvSpPr>
              <p:cNvPr id="20" name="矩形: 圆角 19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2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1" name="组合 20"/>
              <p:cNvGrpSpPr/>
              <p:nvPr/>
            </p:nvGrpSpPr>
            <p:grpSpPr>
              <a:xfrm>
                <a:off x="2741709" y="3069409"/>
                <a:ext cx="2653462" cy="1085850"/>
                <a:chOff x="5162831" y="2886075"/>
                <a:chExt cx="2653462" cy="1085850"/>
              </a:xfrm>
            </p:grpSpPr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endParaRPr lang="en-US" altLang="zh-CN" sz="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  <p:sp>
              <p:nvSpPr>
                <p:cNvPr id="23" name="矩形 22"/>
                <p:cNvSpPr/>
                <p:nvPr/>
              </p:nvSpPr>
              <p:spPr>
                <a:xfrm>
                  <a:off x="5162831" y="2886075"/>
                  <a:ext cx="2653462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感染患者的临床表现</a:t>
                  </a:r>
                </a:p>
              </p:txBody>
            </p:sp>
          </p:grpSp>
        </p:grpSp>
        <p:grpSp>
          <p:nvGrpSpPr>
            <p:cNvPr id="10" name="组合 9"/>
            <p:cNvGrpSpPr>
              <a:grpSpLocks/>
            </p:cNvGrpSpPr>
            <p:nvPr/>
          </p:nvGrpSpPr>
          <p:grpSpPr>
            <a:xfrm>
              <a:off x="2989667" y="4590713"/>
              <a:ext cx="3537717" cy="1085850"/>
              <a:chOff x="1857452" y="3069409"/>
              <a:chExt cx="3537717" cy="1085850"/>
            </a:xfrm>
          </p:grpSpPr>
          <p:sp>
            <p:nvSpPr>
              <p:cNvPr id="16" name="矩形: 圆角 15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3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7" name="组合 16"/>
              <p:cNvGrpSpPr/>
              <p:nvPr/>
            </p:nvGrpSpPr>
            <p:grpSpPr>
              <a:xfrm>
                <a:off x="2741707" y="3069409"/>
                <a:ext cx="2653462" cy="1085850"/>
                <a:chOff x="5162829" y="2886075"/>
                <a:chExt cx="2653462" cy="1085850"/>
              </a:xfrm>
            </p:grpSpPr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endParaRPr lang="en-US" altLang="zh-CN" sz="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  <p:sp>
              <p:nvSpPr>
                <p:cNvPr id="19" name="矩形 18"/>
                <p:cNvSpPr/>
                <p:nvPr/>
              </p:nvSpPr>
              <p:spPr>
                <a:xfrm>
                  <a:off x="5162829" y="2886075"/>
                  <a:ext cx="2653462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此次疫情的病例特点</a:t>
                  </a:r>
                </a:p>
              </p:txBody>
            </p:sp>
          </p:grpSp>
        </p:grpSp>
        <p:grpSp>
          <p:nvGrpSpPr>
            <p:cNvPr id="11" name="组合 10"/>
            <p:cNvGrpSpPr>
              <a:grpSpLocks/>
            </p:cNvGrpSpPr>
            <p:nvPr/>
          </p:nvGrpSpPr>
          <p:grpSpPr>
            <a:xfrm>
              <a:off x="6439038" y="4590713"/>
              <a:ext cx="3537719" cy="1085850"/>
              <a:chOff x="1857452" y="3069409"/>
              <a:chExt cx="3537719" cy="1085850"/>
            </a:xfrm>
          </p:grpSpPr>
          <p:sp>
            <p:nvSpPr>
              <p:cNvPr id="12" name="矩形: 圆角 11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4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3" name="组合 12"/>
              <p:cNvGrpSpPr/>
              <p:nvPr/>
            </p:nvGrpSpPr>
            <p:grpSpPr>
              <a:xfrm>
                <a:off x="2741709" y="3069409"/>
                <a:ext cx="2653462" cy="1085850"/>
                <a:chOff x="5162831" y="2886075"/>
                <a:chExt cx="2653462" cy="1085850"/>
              </a:xfrm>
            </p:grpSpPr>
            <p:sp>
              <p:nvSpPr>
                <p:cNvPr id="14" name="矩形 13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</a:t>
                  </a:r>
                  <a:r>
                    <a:rPr lang="en-US" altLang="zh-CN" sz="1100">
                      <a:cs typeface="+mn-ea"/>
                      <a:sym typeface="+mn-lt"/>
                    </a:rPr>
                    <a:t>here.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endParaRPr lang="en-US" altLang="zh-CN" sz="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  <p:sp>
              <p:nvSpPr>
                <p:cNvPr id="15" name="矩形 14"/>
                <p:cNvSpPr/>
                <p:nvPr/>
              </p:nvSpPr>
              <p:spPr>
                <a:xfrm>
                  <a:off x="5162831" y="2886075"/>
                  <a:ext cx="2653462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如何预防新型冠状病毒感染</a:t>
                  </a:r>
                </a:p>
              </p:txBody>
            </p:sp>
          </p:grpSp>
        </p:grpSp>
        <p:sp>
          <p:nvSpPr>
            <p:cNvPr id="28" name="文本框 27"/>
            <p:cNvSpPr txBox="1"/>
            <p:nvPr/>
          </p:nvSpPr>
          <p:spPr>
            <a:xfrm>
              <a:off x="4847078" y="1819135"/>
              <a:ext cx="2497843" cy="61555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anchor="ctr" anchorCtr="0">
              <a:normAutofit fontScale="77500" lnSpcReduction="20000"/>
            </a:bodyPr>
            <a:lstStyle/>
            <a:p>
              <a:pPr>
                <a:lnSpc>
                  <a:spcPct val="110000"/>
                </a:lnSpc>
              </a:pPr>
              <a:r>
                <a:rPr lang="en-US" altLang="zh-CN" sz="40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CONT</a:t>
              </a:r>
              <a:r>
                <a:rPr lang="en-US" altLang="zh-CN" sz="1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 </a:t>
              </a:r>
              <a:r>
                <a:rPr lang="en-US" altLang="zh-CN" sz="40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67415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什么是冠状病毒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015059" y="2898982"/>
            <a:ext cx="1794081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 spc="100" dirty="0">
                <a:solidFill>
                  <a:schemeClr val="accent3"/>
                </a:solidFill>
                <a:cs typeface="+mn-ea"/>
                <a:sym typeface="+mn-lt"/>
              </a:rPr>
              <a:t>/01</a:t>
            </a:r>
            <a:endParaRPr lang="zh-CN" altLang="en-US" sz="8800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2102772"/>
            <a:ext cx="8470900" cy="2581836"/>
            <a:chOff x="0" y="2581835"/>
            <a:chExt cx="8470900" cy="2581836"/>
          </a:xfrm>
        </p:grpSpPr>
        <p:sp>
          <p:nvSpPr>
            <p:cNvPr id="8" name="箭头: 五边形 7"/>
            <p:cNvSpPr/>
            <p:nvPr/>
          </p:nvSpPr>
          <p:spPr>
            <a:xfrm>
              <a:off x="0" y="2755666"/>
              <a:ext cx="596900" cy="1351990"/>
            </a:xfrm>
            <a:prstGeom prst="homePlate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660400" y="2581835"/>
              <a:ext cx="7810500" cy="2023503"/>
              <a:chOff x="8549184" y="1837691"/>
              <a:chExt cx="2830016" cy="2023503"/>
            </a:xfrm>
          </p:grpSpPr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6C0B8BD-8162-4FCA-B7AC-235FD87189C5}"/>
                  </a:ext>
                </a:extLst>
              </p:cNvPr>
              <p:cNvSpPr txBox="1"/>
              <p:nvPr/>
            </p:nvSpPr>
            <p:spPr>
              <a:xfrm>
                <a:off x="8549184" y="1837691"/>
                <a:ext cx="2830016" cy="49839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altLang="zh-CN" sz="2000" b="1" dirty="0" err="1">
                    <a:cs typeface="+mn-ea"/>
                    <a:sym typeface="+mn-lt"/>
                  </a:rPr>
                  <a:t>Te</a:t>
                </a:r>
                <a:r>
                  <a:rPr lang="en-US" altLang="zh-CN" sz="100" b="1" dirty="0">
                    <a:cs typeface="+mn-ea"/>
                    <a:sym typeface="+mn-lt"/>
                  </a:rPr>
                  <a:t> </a:t>
                </a:r>
                <a:r>
                  <a:rPr lang="en-US" altLang="zh-CN" sz="2000" b="1" dirty="0" err="1">
                    <a:cs typeface="+mn-ea"/>
                    <a:sym typeface="+mn-lt"/>
                  </a:rPr>
                  <a:t>xt</a:t>
                </a:r>
                <a:r>
                  <a:rPr lang="en-US" altLang="zh-CN" sz="2000" b="1" dirty="0">
                    <a:cs typeface="+mn-ea"/>
                    <a:sym typeface="+mn-lt"/>
                  </a:rPr>
                  <a:t> here</a:t>
                </a:r>
                <a:endParaRPr lang="id-ID" altLang="zh-CN" sz="2000" b="1" dirty="0">
                  <a:cs typeface="+mn-ea"/>
                  <a:sym typeface="+mn-lt"/>
                </a:endParaRPr>
              </a:p>
            </p:txBody>
          </p:sp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4526A6D4-3938-483E-AE04-387A4D4F50AE}"/>
                  </a:ext>
                </a:extLst>
              </p:cNvPr>
              <p:cNvSpPr txBox="1"/>
              <p:nvPr/>
            </p:nvSpPr>
            <p:spPr>
              <a:xfrm>
                <a:off x="8549184" y="2336083"/>
                <a:ext cx="2222304" cy="15251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zh-CN" altLang="en-US" sz="1600" dirty="0">
                    <a:cs typeface="+mn-ea"/>
                    <a:sym typeface="+mn-lt"/>
                  </a:rPr>
                  <a:t> 冠状病毒是自然界广泛存在的一类病毒，因形态在电镜下观察类似王冠而得名。目前为止发现，冠状病毒仅感染脊柱动物，可引起人和动物呼吸道、消化道和神经系统疾病。</a:t>
                </a:r>
                <a:endParaRPr lang="en-US" altLang="zh-CN" sz="1600" dirty="0">
                  <a:cs typeface="+mn-ea"/>
                  <a:sym typeface="+mn-lt"/>
                </a:endParaRPr>
              </a:p>
            </p:txBody>
          </p:sp>
        </p:grpSp>
        <p:sp>
          <p:nvSpPr>
            <p:cNvPr id="10" name="矩形: 圆角 9"/>
            <p:cNvSpPr/>
            <p:nvPr/>
          </p:nvSpPr>
          <p:spPr>
            <a:xfrm>
              <a:off x="660400" y="4792973"/>
              <a:ext cx="1025525" cy="370698"/>
            </a:xfrm>
            <a:prstGeom prst="roundRect">
              <a:avLst>
                <a:gd name="adj" fmla="val 7941"/>
              </a:avLst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200" dirty="0">
                  <a:solidFill>
                    <a:schemeClr val="tx1"/>
                  </a:solidFill>
                  <a:cs typeface="+mn-ea"/>
                  <a:sym typeface="+mn-lt"/>
                </a:rPr>
                <a:t>2019-nCoV</a:t>
              </a: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什么是冠状病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244" name="组合 243"/>
          <p:cNvGrpSpPr/>
          <p:nvPr/>
        </p:nvGrpSpPr>
        <p:grpSpPr>
          <a:xfrm flipH="1">
            <a:off x="7408862" y="2952598"/>
            <a:ext cx="3417166" cy="3069173"/>
            <a:chOff x="1399299" y="2086709"/>
            <a:chExt cx="3417166" cy="3069173"/>
          </a:xfrm>
        </p:grpSpPr>
        <p:sp>
          <p:nvSpPr>
            <p:cNvPr id="231" name="椭圆 230">
              <a:extLst>
                <a:ext uri="{FF2B5EF4-FFF2-40B4-BE49-F238E27FC236}">
                  <a16:creationId xmlns:a16="http://schemas.microsoft.com/office/drawing/2014/main" id="{257F7A00-C0EE-41E8-8322-4BB112AF7FB1}"/>
                </a:ext>
              </a:extLst>
            </p:cNvPr>
            <p:cNvSpPr/>
            <p:nvPr/>
          </p:nvSpPr>
          <p:spPr>
            <a:xfrm>
              <a:off x="1871081" y="2086709"/>
              <a:ext cx="2945384" cy="2945384"/>
            </a:xfrm>
            <a:prstGeom prst="ellipse">
              <a:avLst/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232" name="组合 231">
              <a:extLst>
                <a:ext uri="{FF2B5EF4-FFF2-40B4-BE49-F238E27FC236}">
                  <a16:creationId xmlns:a16="http://schemas.microsoft.com/office/drawing/2014/main" id="{A516A369-5E65-4C4F-B977-51475B677EC7}"/>
                </a:ext>
              </a:extLst>
            </p:cNvPr>
            <p:cNvGrpSpPr/>
            <p:nvPr/>
          </p:nvGrpSpPr>
          <p:grpSpPr>
            <a:xfrm rot="433328">
              <a:off x="1399299" y="2458018"/>
              <a:ext cx="2678014" cy="2697864"/>
              <a:chOff x="1273442" y="1794427"/>
              <a:chExt cx="4037688" cy="4067616"/>
            </a:xfrm>
          </p:grpSpPr>
          <p:grpSp>
            <p:nvGrpSpPr>
              <p:cNvPr id="233" name="组合 232">
                <a:extLst>
                  <a:ext uri="{FF2B5EF4-FFF2-40B4-BE49-F238E27FC236}">
                    <a16:creationId xmlns:a16="http://schemas.microsoft.com/office/drawing/2014/main" id="{93DE205B-FE1C-44F9-B1E3-4D8BD981AC83}"/>
                  </a:ext>
                </a:extLst>
              </p:cNvPr>
              <p:cNvGrpSpPr/>
              <p:nvPr/>
            </p:nvGrpSpPr>
            <p:grpSpPr>
              <a:xfrm rot="938189">
                <a:off x="1342154" y="2172610"/>
                <a:ext cx="3653050" cy="3689433"/>
                <a:chOff x="1342154" y="2172610"/>
                <a:chExt cx="3653050" cy="3689433"/>
              </a:xfrm>
              <a:solidFill>
                <a:srgbClr val="00F2A9"/>
              </a:solidFill>
            </p:grpSpPr>
            <p:sp>
              <p:nvSpPr>
                <p:cNvPr id="242" name="任意多边形: 形状 241">
                  <a:extLst>
                    <a:ext uri="{FF2B5EF4-FFF2-40B4-BE49-F238E27FC236}">
                      <a16:creationId xmlns:a16="http://schemas.microsoft.com/office/drawing/2014/main" id="{854C9F9B-EC70-49A2-84AF-290557D8F0AD}"/>
                    </a:ext>
                  </a:extLst>
                </p:cNvPr>
                <p:cNvSpPr/>
                <p:nvPr/>
              </p:nvSpPr>
              <p:spPr>
                <a:xfrm>
                  <a:off x="1342154" y="4916535"/>
                  <a:ext cx="945509" cy="945508"/>
                </a:xfrm>
                <a:custGeom>
                  <a:avLst/>
                  <a:gdLst>
                    <a:gd name="connsiteX0" fmla="*/ 467559 w 945509"/>
                    <a:gd name="connsiteY0" fmla="*/ 851997 h 945508"/>
                    <a:gd name="connsiteX1" fmla="*/ 924729 w 945509"/>
                    <a:gd name="connsiteY1" fmla="*/ 851997 h 945508"/>
                    <a:gd name="connsiteX2" fmla="*/ 924729 w 945509"/>
                    <a:gd name="connsiteY2" fmla="*/ 755022 h 945508"/>
                    <a:gd name="connsiteX3" fmla="*/ 190487 w 945509"/>
                    <a:gd name="connsiteY3" fmla="*/ 20780 h 945508"/>
                    <a:gd name="connsiteX4" fmla="*/ 93512 w 945509"/>
                    <a:gd name="connsiteY4" fmla="*/ 20780 h 945508"/>
                    <a:gd name="connsiteX5" fmla="*/ 93512 w 945509"/>
                    <a:gd name="connsiteY5" fmla="*/ 477950 h 945508"/>
                    <a:gd name="connsiteX6" fmla="*/ 467559 w 945509"/>
                    <a:gd name="connsiteY6" fmla="*/ 851997 h 945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45509" h="945508">
                      <a:moveTo>
                        <a:pt x="467559" y="851997"/>
                      </a:moveTo>
                      <a:cubicBezTo>
                        <a:pt x="592242" y="976680"/>
                        <a:pt x="800046" y="976680"/>
                        <a:pt x="924729" y="851997"/>
                      </a:cubicBezTo>
                      <a:cubicBezTo>
                        <a:pt x="952436" y="824290"/>
                        <a:pt x="952436" y="782729"/>
                        <a:pt x="924729" y="755022"/>
                      </a:cubicBezTo>
                      <a:lnTo>
                        <a:pt x="190487" y="20780"/>
                      </a:lnTo>
                      <a:cubicBezTo>
                        <a:pt x="162780" y="-6927"/>
                        <a:pt x="121219" y="-6927"/>
                        <a:pt x="93512" y="20780"/>
                      </a:cubicBezTo>
                      <a:cubicBezTo>
                        <a:pt x="-31171" y="145463"/>
                        <a:pt x="-31171" y="353267"/>
                        <a:pt x="93512" y="477950"/>
                      </a:cubicBezTo>
                      <a:lnTo>
                        <a:pt x="467559" y="851997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43" name="任意多边形: 形状 242">
                  <a:extLst>
                    <a:ext uri="{FF2B5EF4-FFF2-40B4-BE49-F238E27FC236}">
                      <a16:creationId xmlns:a16="http://schemas.microsoft.com/office/drawing/2014/main" id="{CEEA3951-FF89-47FB-9A85-170E6B95FD2E}"/>
                    </a:ext>
                  </a:extLst>
                </p:cNvPr>
                <p:cNvSpPr/>
                <p:nvPr/>
              </p:nvSpPr>
              <p:spPr>
                <a:xfrm>
                  <a:off x="3174295" y="2172610"/>
                  <a:ext cx="1820910" cy="1857293"/>
                </a:xfrm>
                <a:custGeom>
                  <a:avLst/>
                  <a:gdLst>
                    <a:gd name="connsiteX0" fmla="*/ 1586239 w 1820910"/>
                    <a:gd name="connsiteY0" fmla="*/ 1836513 h 1857293"/>
                    <a:gd name="connsiteX1" fmla="*/ 1683214 w 1820910"/>
                    <a:gd name="connsiteY1" fmla="*/ 1836513 h 1857293"/>
                    <a:gd name="connsiteX2" fmla="*/ 1752482 w 1820910"/>
                    <a:gd name="connsiteY2" fmla="*/ 1774172 h 1857293"/>
                    <a:gd name="connsiteX3" fmla="*/ 1759409 w 1820910"/>
                    <a:gd name="connsiteY3" fmla="*/ 1476319 h 1857293"/>
                    <a:gd name="connsiteX4" fmla="*/ 360194 w 1820910"/>
                    <a:gd name="connsiteY4" fmla="*/ 42470 h 1857293"/>
                    <a:gd name="connsiteX5" fmla="*/ 166243 w 1820910"/>
                    <a:gd name="connsiteY5" fmla="*/ 35543 h 1857293"/>
                    <a:gd name="connsiteX6" fmla="*/ 20781 w 1820910"/>
                    <a:gd name="connsiteY6" fmla="*/ 167153 h 1857293"/>
                    <a:gd name="connsiteX7" fmla="*/ 20781 w 1820910"/>
                    <a:gd name="connsiteY7" fmla="*/ 264128 h 1857293"/>
                    <a:gd name="connsiteX8" fmla="*/ 103902 w 1820910"/>
                    <a:gd name="connsiteY8" fmla="*/ 347250 h 1857293"/>
                    <a:gd name="connsiteX9" fmla="*/ 1489264 w 1820910"/>
                    <a:gd name="connsiteY9" fmla="*/ 1732611 h 1857293"/>
                    <a:gd name="connsiteX10" fmla="*/ 1586239 w 1820910"/>
                    <a:gd name="connsiteY10" fmla="*/ 1836513 h 1857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820910" h="1857293">
                      <a:moveTo>
                        <a:pt x="1586239" y="1836513"/>
                      </a:moveTo>
                      <a:cubicBezTo>
                        <a:pt x="1613946" y="1864220"/>
                        <a:pt x="1655507" y="1864220"/>
                        <a:pt x="1683214" y="1836513"/>
                      </a:cubicBezTo>
                      <a:lnTo>
                        <a:pt x="1752482" y="1774172"/>
                      </a:lnTo>
                      <a:cubicBezTo>
                        <a:pt x="1842531" y="1697977"/>
                        <a:pt x="1842531" y="1559441"/>
                        <a:pt x="1759409" y="1476319"/>
                      </a:cubicBezTo>
                      <a:lnTo>
                        <a:pt x="360194" y="42470"/>
                      </a:lnTo>
                      <a:cubicBezTo>
                        <a:pt x="304780" y="-12944"/>
                        <a:pt x="221658" y="-12944"/>
                        <a:pt x="166243" y="35543"/>
                      </a:cubicBezTo>
                      <a:lnTo>
                        <a:pt x="20781" y="167153"/>
                      </a:lnTo>
                      <a:cubicBezTo>
                        <a:pt x="-6927" y="194860"/>
                        <a:pt x="-6927" y="236421"/>
                        <a:pt x="20781" y="264128"/>
                      </a:cubicBezTo>
                      <a:lnTo>
                        <a:pt x="103902" y="347250"/>
                      </a:lnTo>
                      <a:lnTo>
                        <a:pt x="1489264" y="1732611"/>
                      </a:lnTo>
                      <a:lnTo>
                        <a:pt x="1586239" y="183651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34" name="组合 233">
                <a:extLst>
                  <a:ext uri="{FF2B5EF4-FFF2-40B4-BE49-F238E27FC236}">
                    <a16:creationId xmlns:a16="http://schemas.microsoft.com/office/drawing/2014/main" id="{7F37F6F9-7EEF-4C51-AACE-3F20F26E22D2}"/>
                  </a:ext>
                </a:extLst>
              </p:cNvPr>
              <p:cNvGrpSpPr/>
              <p:nvPr/>
            </p:nvGrpSpPr>
            <p:grpSpPr>
              <a:xfrm rot="938189">
                <a:off x="1273442" y="1794427"/>
                <a:ext cx="4037688" cy="3885225"/>
                <a:chOff x="1276350" y="1772477"/>
                <a:chExt cx="4037688" cy="3885225"/>
              </a:xfrm>
              <a:solidFill>
                <a:srgbClr val="322153"/>
              </a:solidFill>
            </p:grpSpPr>
            <p:sp>
              <p:nvSpPr>
                <p:cNvPr id="235" name="任意多边形: 形状 234">
                  <a:extLst>
                    <a:ext uri="{FF2B5EF4-FFF2-40B4-BE49-F238E27FC236}">
                      <a16:creationId xmlns:a16="http://schemas.microsoft.com/office/drawing/2014/main" id="{C2AF9724-AC00-42B1-98F5-A8D04010D450}"/>
                    </a:ext>
                  </a:extLst>
                </p:cNvPr>
                <p:cNvSpPr/>
                <p:nvPr/>
              </p:nvSpPr>
              <p:spPr>
                <a:xfrm rot="20858260">
                  <a:off x="4603455" y="2110744"/>
                  <a:ext cx="429463" cy="429463"/>
                </a:xfrm>
                <a:custGeom>
                  <a:avLst/>
                  <a:gdLst>
                    <a:gd name="connsiteX0" fmla="*/ 311706 w 429462"/>
                    <a:gd name="connsiteY0" fmla="*/ 20780 h 429462"/>
                    <a:gd name="connsiteX1" fmla="*/ 20781 w 429462"/>
                    <a:gd name="connsiteY1" fmla="*/ 311706 h 429462"/>
                    <a:gd name="connsiteX2" fmla="*/ 20781 w 429462"/>
                    <a:gd name="connsiteY2" fmla="*/ 408682 h 429462"/>
                    <a:gd name="connsiteX3" fmla="*/ 69268 w 429462"/>
                    <a:gd name="connsiteY3" fmla="*/ 429462 h 429462"/>
                    <a:gd name="connsiteX4" fmla="*/ 117756 w 429462"/>
                    <a:gd name="connsiteY4" fmla="*/ 408682 h 429462"/>
                    <a:gd name="connsiteX5" fmla="*/ 408682 w 429462"/>
                    <a:gd name="connsiteY5" fmla="*/ 117756 h 429462"/>
                    <a:gd name="connsiteX6" fmla="*/ 408682 w 429462"/>
                    <a:gd name="connsiteY6" fmla="*/ 20780 h 429462"/>
                    <a:gd name="connsiteX7" fmla="*/ 311706 w 429462"/>
                    <a:gd name="connsiteY7" fmla="*/ 20780 h 429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9462" h="429462">
                      <a:moveTo>
                        <a:pt x="311706" y="20780"/>
                      </a:moveTo>
                      <a:lnTo>
                        <a:pt x="20781" y="311706"/>
                      </a:lnTo>
                      <a:cubicBezTo>
                        <a:pt x="-6927" y="339414"/>
                        <a:pt x="-6927" y="380974"/>
                        <a:pt x="20781" y="408682"/>
                      </a:cubicBezTo>
                      <a:cubicBezTo>
                        <a:pt x="34634" y="422535"/>
                        <a:pt x="55415" y="429462"/>
                        <a:pt x="69268" y="429462"/>
                      </a:cubicBezTo>
                      <a:cubicBezTo>
                        <a:pt x="83122" y="429462"/>
                        <a:pt x="103902" y="422535"/>
                        <a:pt x="117756" y="408682"/>
                      </a:cubicBezTo>
                      <a:lnTo>
                        <a:pt x="408682" y="117756"/>
                      </a:lnTo>
                      <a:cubicBezTo>
                        <a:pt x="436389" y="90048"/>
                        <a:pt x="436389" y="48488"/>
                        <a:pt x="408682" y="20780"/>
                      </a:cubicBezTo>
                      <a:cubicBezTo>
                        <a:pt x="380974" y="-6927"/>
                        <a:pt x="332487" y="-6927"/>
                        <a:pt x="311706" y="2078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36" name="任意多边形: 形状 235">
                  <a:extLst>
                    <a:ext uri="{FF2B5EF4-FFF2-40B4-BE49-F238E27FC236}">
                      <a16:creationId xmlns:a16="http://schemas.microsoft.com/office/drawing/2014/main" id="{18E7C8EE-DF42-4AB5-9A0A-51758B784E29}"/>
                    </a:ext>
                  </a:extLst>
                </p:cNvPr>
                <p:cNvSpPr/>
                <p:nvPr/>
              </p:nvSpPr>
              <p:spPr>
                <a:xfrm rot="20329061">
                  <a:off x="4374356" y="1772477"/>
                  <a:ext cx="267161" cy="414116"/>
                </a:xfrm>
                <a:custGeom>
                  <a:avLst/>
                  <a:gdLst>
                    <a:gd name="connsiteX0" fmla="*/ 60849 w 267161"/>
                    <a:gd name="connsiteY0" fmla="*/ 414116 h 414116"/>
                    <a:gd name="connsiteX1" fmla="*/ 123191 w 267161"/>
                    <a:gd name="connsiteY1" fmla="*/ 372556 h 414116"/>
                    <a:gd name="connsiteX2" fmla="*/ 261727 w 267161"/>
                    <a:gd name="connsiteY2" fmla="*/ 95483 h 414116"/>
                    <a:gd name="connsiteX3" fmla="*/ 234019 w 267161"/>
                    <a:gd name="connsiteY3" fmla="*/ 5435 h 414116"/>
                    <a:gd name="connsiteX4" fmla="*/ 143971 w 267161"/>
                    <a:gd name="connsiteY4" fmla="*/ 33142 h 414116"/>
                    <a:gd name="connsiteX5" fmla="*/ 5435 w 267161"/>
                    <a:gd name="connsiteY5" fmla="*/ 310214 h 414116"/>
                    <a:gd name="connsiteX6" fmla="*/ 33142 w 267161"/>
                    <a:gd name="connsiteY6" fmla="*/ 400263 h 414116"/>
                    <a:gd name="connsiteX7" fmla="*/ 60849 w 267161"/>
                    <a:gd name="connsiteY7" fmla="*/ 414116 h 414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7161" h="414116">
                      <a:moveTo>
                        <a:pt x="60849" y="414116"/>
                      </a:moveTo>
                      <a:cubicBezTo>
                        <a:pt x="88557" y="414116"/>
                        <a:pt x="109337" y="400263"/>
                        <a:pt x="123191" y="372556"/>
                      </a:cubicBezTo>
                      <a:lnTo>
                        <a:pt x="261727" y="95483"/>
                      </a:lnTo>
                      <a:cubicBezTo>
                        <a:pt x="275580" y="60849"/>
                        <a:pt x="261727" y="19288"/>
                        <a:pt x="234019" y="5435"/>
                      </a:cubicBezTo>
                      <a:cubicBezTo>
                        <a:pt x="199385" y="-8419"/>
                        <a:pt x="157825" y="5435"/>
                        <a:pt x="143971" y="33142"/>
                      </a:cubicBezTo>
                      <a:lnTo>
                        <a:pt x="5435" y="310214"/>
                      </a:lnTo>
                      <a:cubicBezTo>
                        <a:pt x="-8419" y="344848"/>
                        <a:pt x="5435" y="386409"/>
                        <a:pt x="33142" y="400263"/>
                      </a:cubicBezTo>
                      <a:cubicBezTo>
                        <a:pt x="40069" y="414116"/>
                        <a:pt x="46996" y="414116"/>
                        <a:pt x="60849" y="414116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37" name="任意多边形: 形状 236">
                  <a:extLst>
                    <a:ext uri="{FF2B5EF4-FFF2-40B4-BE49-F238E27FC236}">
                      <a16:creationId xmlns:a16="http://schemas.microsoft.com/office/drawing/2014/main" id="{FE01DD8D-28B6-43A9-829A-8D8E172B546F}"/>
                    </a:ext>
                  </a:extLst>
                </p:cNvPr>
                <p:cNvSpPr/>
                <p:nvPr/>
              </p:nvSpPr>
              <p:spPr>
                <a:xfrm rot="1349930">
                  <a:off x="4899683" y="2635497"/>
                  <a:ext cx="414355" cy="275454"/>
                </a:xfrm>
                <a:custGeom>
                  <a:avLst/>
                  <a:gdLst>
                    <a:gd name="connsiteX0" fmla="*/ 314543 w 414355"/>
                    <a:gd name="connsiteY0" fmla="*/ 5309 h 275454"/>
                    <a:gd name="connsiteX1" fmla="*/ 37471 w 414355"/>
                    <a:gd name="connsiteY1" fmla="*/ 143845 h 275454"/>
                    <a:gd name="connsiteX2" fmla="*/ 9764 w 414355"/>
                    <a:gd name="connsiteY2" fmla="*/ 233893 h 275454"/>
                    <a:gd name="connsiteX3" fmla="*/ 72105 w 414355"/>
                    <a:gd name="connsiteY3" fmla="*/ 275454 h 275454"/>
                    <a:gd name="connsiteX4" fmla="*/ 99812 w 414355"/>
                    <a:gd name="connsiteY4" fmla="*/ 268527 h 275454"/>
                    <a:gd name="connsiteX5" fmla="*/ 376885 w 414355"/>
                    <a:gd name="connsiteY5" fmla="*/ 129991 h 275454"/>
                    <a:gd name="connsiteX6" fmla="*/ 404592 w 414355"/>
                    <a:gd name="connsiteY6" fmla="*/ 39943 h 275454"/>
                    <a:gd name="connsiteX7" fmla="*/ 314543 w 414355"/>
                    <a:gd name="connsiteY7" fmla="*/ 5309 h 275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4355" h="275454">
                      <a:moveTo>
                        <a:pt x="314543" y="5309"/>
                      </a:moveTo>
                      <a:lnTo>
                        <a:pt x="37471" y="143845"/>
                      </a:lnTo>
                      <a:cubicBezTo>
                        <a:pt x="2837" y="157699"/>
                        <a:pt x="-11017" y="199259"/>
                        <a:pt x="9764" y="233893"/>
                      </a:cubicBezTo>
                      <a:cubicBezTo>
                        <a:pt x="23617" y="261601"/>
                        <a:pt x="44398" y="275454"/>
                        <a:pt x="72105" y="275454"/>
                      </a:cubicBezTo>
                      <a:cubicBezTo>
                        <a:pt x="85959" y="275454"/>
                        <a:pt x="92885" y="275454"/>
                        <a:pt x="99812" y="268527"/>
                      </a:cubicBezTo>
                      <a:lnTo>
                        <a:pt x="376885" y="129991"/>
                      </a:lnTo>
                      <a:cubicBezTo>
                        <a:pt x="411519" y="116138"/>
                        <a:pt x="425372" y="74577"/>
                        <a:pt x="404592" y="39943"/>
                      </a:cubicBezTo>
                      <a:cubicBezTo>
                        <a:pt x="383811" y="5309"/>
                        <a:pt x="349177" y="-8545"/>
                        <a:pt x="314543" y="5309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38" name="任意多边形: 形状 237">
                  <a:extLst>
                    <a:ext uri="{FF2B5EF4-FFF2-40B4-BE49-F238E27FC236}">
                      <a16:creationId xmlns:a16="http://schemas.microsoft.com/office/drawing/2014/main" id="{902E5E03-D063-4D58-87C0-6CD4152B161F}"/>
                    </a:ext>
                  </a:extLst>
                </p:cNvPr>
                <p:cNvSpPr/>
                <p:nvPr/>
              </p:nvSpPr>
              <p:spPr>
                <a:xfrm>
                  <a:off x="1276350" y="1829748"/>
                  <a:ext cx="3795890" cy="3827954"/>
                </a:xfrm>
                <a:custGeom>
                  <a:avLst/>
                  <a:gdLst>
                    <a:gd name="connsiteX0" fmla="*/ 2015701 w 3795890"/>
                    <a:gd name="connsiteY0" fmla="*/ 59772 h 3827954"/>
                    <a:gd name="connsiteX1" fmla="*/ 1870238 w 3795890"/>
                    <a:gd name="connsiteY1" fmla="*/ 191381 h 3827954"/>
                    <a:gd name="connsiteX2" fmla="*/ 1828677 w 3795890"/>
                    <a:gd name="connsiteY2" fmla="*/ 288357 h 3827954"/>
                    <a:gd name="connsiteX3" fmla="*/ 1870238 w 3795890"/>
                    <a:gd name="connsiteY3" fmla="*/ 385332 h 3827954"/>
                    <a:gd name="connsiteX4" fmla="*/ 1911799 w 3795890"/>
                    <a:gd name="connsiteY4" fmla="*/ 426893 h 3827954"/>
                    <a:gd name="connsiteX5" fmla="*/ 325560 w 3795890"/>
                    <a:gd name="connsiteY5" fmla="*/ 2795861 h 3827954"/>
                    <a:gd name="connsiteX6" fmla="*/ 304780 w 3795890"/>
                    <a:gd name="connsiteY6" fmla="*/ 2782007 h 3827954"/>
                    <a:gd name="connsiteX7" fmla="*/ 207804 w 3795890"/>
                    <a:gd name="connsiteY7" fmla="*/ 2740446 h 3827954"/>
                    <a:gd name="connsiteX8" fmla="*/ 207804 w 3795890"/>
                    <a:gd name="connsiteY8" fmla="*/ 2740446 h 3827954"/>
                    <a:gd name="connsiteX9" fmla="*/ 110829 w 3795890"/>
                    <a:gd name="connsiteY9" fmla="*/ 2782007 h 3827954"/>
                    <a:gd name="connsiteX10" fmla="*/ 0 w 3795890"/>
                    <a:gd name="connsiteY10" fmla="*/ 3059079 h 3827954"/>
                    <a:gd name="connsiteX11" fmla="*/ 117756 w 3795890"/>
                    <a:gd name="connsiteY11" fmla="*/ 3336152 h 3827954"/>
                    <a:gd name="connsiteX12" fmla="*/ 491803 w 3795890"/>
                    <a:gd name="connsiteY12" fmla="*/ 3710199 h 3827954"/>
                    <a:gd name="connsiteX13" fmla="*/ 768876 w 3795890"/>
                    <a:gd name="connsiteY13" fmla="*/ 3827955 h 3827954"/>
                    <a:gd name="connsiteX14" fmla="*/ 1045948 w 3795890"/>
                    <a:gd name="connsiteY14" fmla="*/ 3710199 h 3827954"/>
                    <a:gd name="connsiteX15" fmla="*/ 1045948 w 3795890"/>
                    <a:gd name="connsiteY15" fmla="*/ 3516249 h 3827954"/>
                    <a:gd name="connsiteX16" fmla="*/ 1011314 w 3795890"/>
                    <a:gd name="connsiteY16" fmla="*/ 3481615 h 3827954"/>
                    <a:gd name="connsiteX17" fmla="*/ 1246825 w 3795890"/>
                    <a:gd name="connsiteY17" fmla="*/ 3329225 h 3827954"/>
                    <a:gd name="connsiteX18" fmla="*/ 1329947 w 3795890"/>
                    <a:gd name="connsiteY18" fmla="*/ 3460834 h 3827954"/>
                    <a:gd name="connsiteX19" fmla="*/ 1738629 w 3795890"/>
                    <a:gd name="connsiteY19" fmla="*/ 3682492 h 3827954"/>
                    <a:gd name="connsiteX20" fmla="*/ 2001847 w 3795890"/>
                    <a:gd name="connsiteY20" fmla="*/ 3606297 h 3827954"/>
                    <a:gd name="connsiteX21" fmla="*/ 2147310 w 3795890"/>
                    <a:gd name="connsiteY21" fmla="*/ 2934397 h 3827954"/>
                    <a:gd name="connsiteX22" fmla="*/ 2057262 w 3795890"/>
                    <a:gd name="connsiteY22" fmla="*/ 2788934 h 3827954"/>
                    <a:gd name="connsiteX23" fmla="*/ 3394136 w 3795890"/>
                    <a:gd name="connsiteY23" fmla="*/ 1902303 h 3827954"/>
                    <a:gd name="connsiteX24" fmla="*/ 3449550 w 3795890"/>
                    <a:gd name="connsiteY24" fmla="*/ 1957717 h 3827954"/>
                    <a:gd name="connsiteX25" fmla="*/ 3636574 w 3795890"/>
                    <a:gd name="connsiteY25" fmla="*/ 1957717 h 3827954"/>
                    <a:gd name="connsiteX26" fmla="*/ 3705842 w 3795890"/>
                    <a:gd name="connsiteY26" fmla="*/ 1895376 h 3827954"/>
                    <a:gd name="connsiteX27" fmla="*/ 3795890 w 3795890"/>
                    <a:gd name="connsiteY27" fmla="*/ 1701425 h 3827954"/>
                    <a:gd name="connsiteX28" fmla="*/ 3719696 w 3795890"/>
                    <a:gd name="connsiteY28" fmla="*/ 1500548 h 3827954"/>
                    <a:gd name="connsiteX29" fmla="*/ 2306627 w 3795890"/>
                    <a:gd name="connsiteY29" fmla="*/ 59772 h 3827954"/>
                    <a:gd name="connsiteX30" fmla="*/ 2015701 w 3795890"/>
                    <a:gd name="connsiteY30" fmla="*/ 59772 h 3827954"/>
                    <a:gd name="connsiteX31" fmla="*/ 581852 w 3795890"/>
                    <a:gd name="connsiteY31" fmla="*/ 3613224 h 3827954"/>
                    <a:gd name="connsiteX32" fmla="*/ 207804 w 3795890"/>
                    <a:gd name="connsiteY32" fmla="*/ 3239176 h 3827954"/>
                    <a:gd name="connsiteX33" fmla="*/ 138536 w 3795890"/>
                    <a:gd name="connsiteY33" fmla="*/ 3059079 h 3827954"/>
                    <a:gd name="connsiteX34" fmla="*/ 214731 w 3795890"/>
                    <a:gd name="connsiteY34" fmla="*/ 2878982 h 3827954"/>
                    <a:gd name="connsiteX35" fmla="*/ 942046 w 3795890"/>
                    <a:gd name="connsiteY35" fmla="*/ 3613224 h 3827954"/>
                    <a:gd name="connsiteX36" fmla="*/ 581852 w 3795890"/>
                    <a:gd name="connsiteY36" fmla="*/ 3613224 h 3827954"/>
                    <a:gd name="connsiteX37" fmla="*/ 2022628 w 3795890"/>
                    <a:gd name="connsiteY37" fmla="*/ 3010592 h 3827954"/>
                    <a:gd name="connsiteX38" fmla="*/ 1918726 w 3795890"/>
                    <a:gd name="connsiteY38" fmla="*/ 3488541 h 3827954"/>
                    <a:gd name="connsiteX39" fmla="*/ 1440776 w 3795890"/>
                    <a:gd name="connsiteY39" fmla="*/ 3384639 h 3827954"/>
                    <a:gd name="connsiteX40" fmla="*/ 1357654 w 3795890"/>
                    <a:gd name="connsiteY40" fmla="*/ 3253030 h 3827954"/>
                    <a:gd name="connsiteX41" fmla="*/ 1932579 w 3795890"/>
                    <a:gd name="connsiteY41" fmla="*/ 2872056 h 3827954"/>
                    <a:gd name="connsiteX42" fmla="*/ 2022628 w 3795890"/>
                    <a:gd name="connsiteY42" fmla="*/ 3010592 h 3827954"/>
                    <a:gd name="connsiteX43" fmla="*/ 3643501 w 3795890"/>
                    <a:gd name="connsiteY43" fmla="*/ 1694498 h 3827954"/>
                    <a:gd name="connsiteX44" fmla="*/ 3595013 w 3795890"/>
                    <a:gd name="connsiteY44" fmla="*/ 1791474 h 3827954"/>
                    <a:gd name="connsiteX45" fmla="*/ 3525745 w 3795890"/>
                    <a:gd name="connsiteY45" fmla="*/ 1853815 h 3827954"/>
                    <a:gd name="connsiteX46" fmla="*/ 3428770 w 3795890"/>
                    <a:gd name="connsiteY46" fmla="*/ 1763766 h 3827954"/>
                    <a:gd name="connsiteX47" fmla="*/ 3338721 w 3795890"/>
                    <a:gd name="connsiteY47" fmla="*/ 1756840 h 3827954"/>
                    <a:gd name="connsiteX48" fmla="*/ 1911799 w 3795890"/>
                    <a:gd name="connsiteY48" fmla="*/ 2712739 h 3827954"/>
                    <a:gd name="connsiteX49" fmla="*/ 1911799 w 3795890"/>
                    <a:gd name="connsiteY49" fmla="*/ 2712739 h 3827954"/>
                    <a:gd name="connsiteX50" fmla="*/ 1911799 w 3795890"/>
                    <a:gd name="connsiteY50" fmla="*/ 2712739 h 3827954"/>
                    <a:gd name="connsiteX51" fmla="*/ 1219118 w 3795890"/>
                    <a:gd name="connsiteY51" fmla="*/ 3169908 h 3827954"/>
                    <a:gd name="connsiteX52" fmla="*/ 1219118 w 3795890"/>
                    <a:gd name="connsiteY52" fmla="*/ 3169908 h 3827954"/>
                    <a:gd name="connsiteX53" fmla="*/ 1219118 w 3795890"/>
                    <a:gd name="connsiteY53" fmla="*/ 3169908 h 3827954"/>
                    <a:gd name="connsiteX54" fmla="*/ 907412 w 3795890"/>
                    <a:gd name="connsiteY54" fmla="*/ 3377713 h 3827954"/>
                    <a:gd name="connsiteX55" fmla="*/ 422535 w 3795890"/>
                    <a:gd name="connsiteY55" fmla="*/ 2892836 h 3827954"/>
                    <a:gd name="connsiteX56" fmla="*/ 2008774 w 3795890"/>
                    <a:gd name="connsiteY56" fmla="*/ 530795 h 3827954"/>
                    <a:gd name="connsiteX57" fmla="*/ 3089356 w 3795890"/>
                    <a:gd name="connsiteY57" fmla="*/ 1611377 h 3827954"/>
                    <a:gd name="connsiteX58" fmla="*/ 3186331 w 3795890"/>
                    <a:gd name="connsiteY58" fmla="*/ 1611377 h 3827954"/>
                    <a:gd name="connsiteX59" fmla="*/ 3186331 w 3795890"/>
                    <a:gd name="connsiteY59" fmla="*/ 1514401 h 3827954"/>
                    <a:gd name="connsiteX60" fmla="*/ 2057262 w 3795890"/>
                    <a:gd name="connsiteY60" fmla="*/ 378405 h 3827954"/>
                    <a:gd name="connsiteX61" fmla="*/ 2057262 w 3795890"/>
                    <a:gd name="connsiteY61" fmla="*/ 378405 h 3827954"/>
                    <a:gd name="connsiteX62" fmla="*/ 1974140 w 3795890"/>
                    <a:gd name="connsiteY62" fmla="*/ 295283 h 3827954"/>
                    <a:gd name="connsiteX63" fmla="*/ 2119603 w 3795890"/>
                    <a:gd name="connsiteY63" fmla="*/ 163674 h 3827954"/>
                    <a:gd name="connsiteX64" fmla="*/ 2216578 w 3795890"/>
                    <a:gd name="connsiteY64" fmla="*/ 163674 h 3827954"/>
                    <a:gd name="connsiteX65" fmla="*/ 3615794 w 3795890"/>
                    <a:gd name="connsiteY65" fmla="*/ 1597523 h 3827954"/>
                    <a:gd name="connsiteX66" fmla="*/ 3643501 w 3795890"/>
                    <a:gd name="connsiteY66" fmla="*/ 1694498 h 382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795890" h="3827954">
                      <a:moveTo>
                        <a:pt x="2015701" y="59772"/>
                      </a:moveTo>
                      <a:lnTo>
                        <a:pt x="1870238" y="191381"/>
                      </a:lnTo>
                      <a:cubicBezTo>
                        <a:pt x="1849458" y="219088"/>
                        <a:pt x="1828677" y="253723"/>
                        <a:pt x="1828677" y="288357"/>
                      </a:cubicBezTo>
                      <a:cubicBezTo>
                        <a:pt x="1828677" y="322991"/>
                        <a:pt x="1842531" y="364551"/>
                        <a:pt x="1870238" y="385332"/>
                      </a:cubicBezTo>
                      <a:lnTo>
                        <a:pt x="1911799" y="426893"/>
                      </a:lnTo>
                      <a:lnTo>
                        <a:pt x="325560" y="2795861"/>
                      </a:lnTo>
                      <a:lnTo>
                        <a:pt x="304780" y="2782007"/>
                      </a:lnTo>
                      <a:cubicBezTo>
                        <a:pt x="277072" y="2754300"/>
                        <a:pt x="242438" y="2740446"/>
                        <a:pt x="207804" y="2740446"/>
                      </a:cubicBezTo>
                      <a:lnTo>
                        <a:pt x="207804" y="2740446"/>
                      </a:lnTo>
                      <a:cubicBezTo>
                        <a:pt x="173170" y="2740446"/>
                        <a:pt x="138536" y="2754300"/>
                        <a:pt x="110829" y="2782007"/>
                      </a:cubicBezTo>
                      <a:cubicBezTo>
                        <a:pt x="41561" y="2851275"/>
                        <a:pt x="0" y="2955177"/>
                        <a:pt x="0" y="3059079"/>
                      </a:cubicBezTo>
                      <a:cubicBezTo>
                        <a:pt x="0" y="3162981"/>
                        <a:pt x="41561" y="3259957"/>
                        <a:pt x="117756" y="3336152"/>
                      </a:cubicBezTo>
                      <a:lnTo>
                        <a:pt x="491803" y="3710199"/>
                      </a:lnTo>
                      <a:cubicBezTo>
                        <a:pt x="567998" y="3786394"/>
                        <a:pt x="664974" y="3827955"/>
                        <a:pt x="768876" y="3827955"/>
                      </a:cubicBezTo>
                      <a:cubicBezTo>
                        <a:pt x="872778" y="3827955"/>
                        <a:pt x="969753" y="3786394"/>
                        <a:pt x="1045948" y="3710199"/>
                      </a:cubicBezTo>
                      <a:cubicBezTo>
                        <a:pt x="1101362" y="3654785"/>
                        <a:pt x="1101362" y="3571663"/>
                        <a:pt x="1045948" y="3516249"/>
                      </a:cubicBezTo>
                      <a:lnTo>
                        <a:pt x="1011314" y="3481615"/>
                      </a:lnTo>
                      <a:lnTo>
                        <a:pt x="1246825" y="3329225"/>
                      </a:lnTo>
                      <a:lnTo>
                        <a:pt x="1329947" y="3460834"/>
                      </a:lnTo>
                      <a:cubicBezTo>
                        <a:pt x="1419996" y="3606297"/>
                        <a:pt x="1579312" y="3682492"/>
                        <a:pt x="1738629" y="3682492"/>
                      </a:cubicBezTo>
                      <a:cubicBezTo>
                        <a:pt x="1828677" y="3682492"/>
                        <a:pt x="1918726" y="3654785"/>
                        <a:pt x="2001847" y="3606297"/>
                      </a:cubicBezTo>
                      <a:cubicBezTo>
                        <a:pt x="2223505" y="3460834"/>
                        <a:pt x="2292773" y="3162981"/>
                        <a:pt x="2147310" y="2934397"/>
                      </a:cubicBezTo>
                      <a:lnTo>
                        <a:pt x="2057262" y="2788934"/>
                      </a:lnTo>
                      <a:lnTo>
                        <a:pt x="3394136" y="1902303"/>
                      </a:lnTo>
                      <a:lnTo>
                        <a:pt x="3449550" y="1957717"/>
                      </a:lnTo>
                      <a:cubicBezTo>
                        <a:pt x="3504964" y="2006205"/>
                        <a:pt x="3588086" y="2013131"/>
                        <a:pt x="3636574" y="1957717"/>
                      </a:cubicBezTo>
                      <a:lnTo>
                        <a:pt x="3705842" y="1895376"/>
                      </a:lnTo>
                      <a:cubicBezTo>
                        <a:pt x="3761256" y="1846888"/>
                        <a:pt x="3795890" y="1777620"/>
                        <a:pt x="3795890" y="1701425"/>
                      </a:cubicBezTo>
                      <a:cubicBezTo>
                        <a:pt x="3795890" y="1625230"/>
                        <a:pt x="3768183" y="1555962"/>
                        <a:pt x="3719696" y="1500548"/>
                      </a:cubicBezTo>
                      <a:lnTo>
                        <a:pt x="2306627" y="59772"/>
                      </a:lnTo>
                      <a:cubicBezTo>
                        <a:pt x="2230432" y="-16423"/>
                        <a:pt x="2098823" y="-23350"/>
                        <a:pt x="2015701" y="59772"/>
                      </a:cubicBezTo>
                      <a:close/>
                      <a:moveTo>
                        <a:pt x="581852" y="3613224"/>
                      </a:moveTo>
                      <a:lnTo>
                        <a:pt x="207804" y="3239176"/>
                      </a:lnTo>
                      <a:cubicBezTo>
                        <a:pt x="159317" y="3190689"/>
                        <a:pt x="138536" y="3128347"/>
                        <a:pt x="138536" y="3059079"/>
                      </a:cubicBezTo>
                      <a:cubicBezTo>
                        <a:pt x="138536" y="2989811"/>
                        <a:pt x="166243" y="2927470"/>
                        <a:pt x="214731" y="2878982"/>
                      </a:cubicBezTo>
                      <a:lnTo>
                        <a:pt x="942046" y="3613224"/>
                      </a:lnTo>
                      <a:cubicBezTo>
                        <a:pt x="845070" y="3710199"/>
                        <a:pt x="685754" y="3710199"/>
                        <a:pt x="581852" y="3613224"/>
                      </a:cubicBezTo>
                      <a:close/>
                      <a:moveTo>
                        <a:pt x="2022628" y="3010592"/>
                      </a:moveTo>
                      <a:cubicBezTo>
                        <a:pt x="2126530" y="3169908"/>
                        <a:pt x="2078042" y="3384639"/>
                        <a:pt x="1918726" y="3488541"/>
                      </a:cubicBezTo>
                      <a:cubicBezTo>
                        <a:pt x="1759409" y="3592443"/>
                        <a:pt x="1544678" y="3543956"/>
                        <a:pt x="1440776" y="3384639"/>
                      </a:cubicBezTo>
                      <a:lnTo>
                        <a:pt x="1357654" y="3253030"/>
                      </a:lnTo>
                      <a:lnTo>
                        <a:pt x="1932579" y="2872056"/>
                      </a:lnTo>
                      <a:lnTo>
                        <a:pt x="2022628" y="3010592"/>
                      </a:lnTo>
                      <a:close/>
                      <a:moveTo>
                        <a:pt x="3643501" y="1694498"/>
                      </a:moveTo>
                      <a:cubicBezTo>
                        <a:pt x="3643501" y="1729132"/>
                        <a:pt x="3622720" y="1770693"/>
                        <a:pt x="3595013" y="1791474"/>
                      </a:cubicBezTo>
                      <a:lnTo>
                        <a:pt x="3525745" y="1853815"/>
                      </a:lnTo>
                      <a:lnTo>
                        <a:pt x="3428770" y="1763766"/>
                      </a:lnTo>
                      <a:cubicBezTo>
                        <a:pt x="3407989" y="1742986"/>
                        <a:pt x="3366428" y="1736059"/>
                        <a:pt x="3338721" y="1756840"/>
                      </a:cubicBezTo>
                      <a:lnTo>
                        <a:pt x="1911799" y="2712739"/>
                      </a:lnTo>
                      <a:lnTo>
                        <a:pt x="1911799" y="2712739"/>
                      </a:lnTo>
                      <a:lnTo>
                        <a:pt x="1911799" y="2712739"/>
                      </a:lnTo>
                      <a:lnTo>
                        <a:pt x="1219118" y="3169908"/>
                      </a:lnTo>
                      <a:lnTo>
                        <a:pt x="1219118" y="3169908"/>
                      </a:lnTo>
                      <a:lnTo>
                        <a:pt x="1219118" y="3169908"/>
                      </a:lnTo>
                      <a:lnTo>
                        <a:pt x="907412" y="3377713"/>
                      </a:lnTo>
                      <a:lnTo>
                        <a:pt x="422535" y="2892836"/>
                      </a:lnTo>
                      <a:lnTo>
                        <a:pt x="2008774" y="530795"/>
                      </a:lnTo>
                      <a:lnTo>
                        <a:pt x="3089356" y="1611377"/>
                      </a:lnTo>
                      <a:cubicBezTo>
                        <a:pt x="3117063" y="1639084"/>
                        <a:pt x="3158624" y="1639084"/>
                        <a:pt x="3186331" y="1611377"/>
                      </a:cubicBezTo>
                      <a:cubicBezTo>
                        <a:pt x="3214039" y="1583669"/>
                        <a:pt x="3214039" y="1542109"/>
                        <a:pt x="3186331" y="1514401"/>
                      </a:cubicBezTo>
                      <a:lnTo>
                        <a:pt x="2057262" y="378405"/>
                      </a:lnTo>
                      <a:lnTo>
                        <a:pt x="2057262" y="378405"/>
                      </a:lnTo>
                      <a:lnTo>
                        <a:pt x="1974140" y="295283"/>
                      </a:lnTo>
                      <a:lnTo>
                        <a:pt x="2119603" y="163674"/>
                      </a:lnTo>
                      <a:cubicBezTo>
                        <a:pt x="2147310" y="135967"/>
                        <a:pt x="2188871" y="135967"/>
                        <a:pt x="2216578" y="163674"/>
                      </a:cubicBezTo>
                      <a:lnTo>
                        <a:pt x="3615794" y="1597523"/>
                      </a:lnTo>
                      <a:cubicBezTo>
                        <a:pt x="3636574" y="1618303"/>
                        <a:pt x="3650428" y="1659864"/>
                        <a:pt x="3643501" y="1694498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39" name="任意多边形: 形状 238">
                  <a:extLst>
                    <a:ext uri="{FF2B5EF4-FFF2-40B4-BE49-F238E27FC236}">
                      <a16:creationId xmlns:a16="http://schemas.microsoft.com/office/drawing/2014/main" id="{906AB3F5-DC4E-4C05-B160-7720255641CD}"/>
                    </a:ext>
                  </a:extLst>
                </p:cNvPr>
                <p:cNvSpPr/>
                <p:nvPr/>
              </p:nvSpPr>
              <p:spPr>
                <a:xfrm>
                  <a:off x="2800247" y="3434198"/>
                  <a:ext cx="692680" cy="692680"/>
                </a:xfrm>
                <a:custGeom>
                  <a:avLst/>
                  <a:gdLst>
                    <a:gd name="connsiteX0" fmla="*/ 574925 w 692680"/>
                    <a:gd name="connsiteY0" fmla="*/ 20780 h 692680"/>
                    <a:gd name="connsiteX1" fmla="*/ 20780 w 692680"/>
                    <a:gd name="connsiteY1" fmla="*/ 574925 h 692680"/>
                    <a:gd name="connsiteX2" fmla="*/ 20780 w 692680"/>
                    <a:gd name="connsiteY2" fmla="*/ 671900 h 692680"/>
                    <a:gd name="connsiteX3" fmla="*/ 69268 w 692680"/>
                    <a:gd name="connsiteY3" fmla="*/ 692681 h 692680"/>
                    <a:gd name="connsiteX4" fmla="*/ 117756 w 692680"/>
                    <a:gd name="connsiteY4" fmla="*/ 671900 h 692680"/>
                    <a:gd name="connsiteX5" fmla="*/ 671900 w 692680"/>
                    <a:gd name="connsiteY5" fmla="*/ 117756 h 692680"/>
                    <a:gd name="connsiteX6" fmla="*/ 671900 w 692680"/>
                    <a:gd name="connsiteY6" fmla="*/ 20780 h 692680"/>
                    <a:gd name="connsiteX7" fmla="*/ 574925 w 692680"/>
                    <a:gd name="connsiteY7" fmla="*/ 20780 h 69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92680" h="692680">
                      <a:moveTo>
                        <a:pt x="574925" y="20780"/>
                      </a:moveTo>
                      <a:lnTo>
                        <a:pt x="20780" y="574925"/>
                      </a:lnTo>
                      <a:cubicBezTo>
                        <a:pt x="-6927" y="602632"/>
                        <a:pt x="-6927" y="644193"/>
                        <a:pt x="20780" y="671900"/>
                      </a:cubicBezTo>
                      <a:cubicBezTo>
                        <a:pt x="34634" y="685754"/>
                        <a:pt x="55414" y="692681"/>
                        <a:pt x="69268" y="692681"/>
                      </a:cubicBezTo>
                      <a:cubicBezTo>
                        <a:pt x="83122" y="692681"/>
                        <a:pt x="103902" y="685754"/>
                        <a:pt x="117756" y="671900"/>
                      </a:cubicBezTo>
                      <a:lnTo>
                        <a:pt x="671900" y="117756"/>
                      </a:lnTo>
                      <a:cubicBezTo>
                        <a:pt x="699607" y="90048"/>
                        <a:pt x="699607" y="48488"/>
                        <a:pt x="671900" y="20780"/>
                      </a:cubicBezTo>
                      <a:cubicBezTo>
                        <a:pt x="644193" y="-6927"/>
                        <a:pt x="602632" y="-6927"/>
                        <a:pt x="574925" y="20780"/>
                      </a:cubicBezTo>
                      <a:close/>
                    </a:path>
                  </a:pathLst>
                </a:custGeom>
                <a:solidFill>
                  <a:srgbClr val="322153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40" name="任意多边形: 形状 239">
                  <a:extLst>
                    <a:ext uri="{FF2B5EF4-FFF2-40B4-BE49-F238E27FC236}">
                      <a16:creationId xmlns:a16="http://schemas.microsoft.com/office/drawing/2014/main" id="{1B9DF079-7DED-4895-979B-7928A38A79B3}"/>
                    </a:ext>
                  </a:extLst>
                </p:cNvPr>
                <p:cNvSpPr/>
                <p:nvPr/>
              </p:nvSpPr>
              <p:spPr>
                <a:xfrm>
                  <a:off x="2800247" y="3434198"/>
                  <a:ext cx="415608" cy="415608"/>
                </a:xfrm>
                <a:custGeom>
                  <a:avLst/>
                  <a:gdLst>
                    <a:gd name="connsiteX0" fmla="*/ 69268 w 415608"/>
                    <a:gd name="connsiteY0" fmla="*/ 415608 h 415608"/>
                    <a:gd name="connsiteX1" fmla="*/ 117756 w 415608"/>
                    <a:gd name="connsiteY1" fmla="*/ 394828 h 415608"/>
                    <a:gd name="connsiteX2" fmla="*/ 394828 w 415608"/>
                    <a:gd name="connsiteY2" fmla="*/ 117756 h 415608"/>
                    <a:gd name="connsiteX3" fmla="*/ 394828 w 415608"/>
                    <a:gd name="connsiteY3" fmla="*/ 20780 h 415608"/>
                    <a:gd name="connsiteX4" fmla="*/ 297853 w 415608"/>
                    <a:gd name="connsiteY4" fmla="*/ 20780 h 415608"/>
                    <a:gd name="connsiteX5" fmla="*/ 20780 w 415608"/>
                    <a:gd name="connsiteY5" fmla="*/ 297853 h 415608"/>
                    <a:gd name="connsiteX6" fmla="*/ 20780 w 415608"/>
                    <a:gd name="connsiteY6" fmla="*/ 394828 h 415608"/>
                    <a:gd name="connsiteX7" fmla="*/ 69268 w 415608"/>
                    <a:gd name="connsiteY7" fmla="*/ 415608 h 415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5608" h="415608">
                      <a:moveTo>
                        <a:pt x="69268" y="415608"/>
                      </a:moveTo>
                      <a:cubicBezTo>
                        <a:pt x="90048" y="415608"/>
                        <a:pt x="103902" y="408682"/>
                        <a:pt x="117756" y="394828"/>
                      </a:cubicBezTo>
                      <a:lnTo>
                        <a:pt x="394828" y="117756"/>
                      </a:lnTo>
                      <a:cubicBezTo>
                        <a:pt x="422535" y="90048"/>
                        <a:pt x="422535" y="48488"/>
                        <a:pt x="394828" y="20780"/>
                      </a:cubicBezTo>
                      <a:cubicBezTo>
                        <a:pt x="367121" y="-6927"/>
                        <a:pt x="325560" y="-6927"/>
                        <a:pt x="297853" y="20780"/>
                      </a:cubicBezTo>
                      <a:lnTo>
                        <a:pt x="20780" y="297853"/>
                      </a:lnTo>
                      <a:cubicBezTo>
                        <a:pt x="-6927" y="325560"/>
                        <a:pt x="-6927" y="367121"/>
                        <a:pt x="20780" y="394828"/>
                      </a:cubicBezTo>
                      <a:cubicBezTo>
                        <a:pt x="34634" y="408682"/>
                        <a:pt x="55414" y="415608"/>
                        <a:pt x="69268" y="415608"/>
                      </a:cubicBezTo>
                      <a:close/>
                    </a:path>
                  </a:pathLst>
                </a:custGeom>
                <a:solidFill>
                  <a:srgbClr val="322153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41" name="任意多边形: 形状 240">
                  <a:extLst>
                    <a:ext uri="{FF2B5EF4-FFF2-40B4-BE49-F238E27FC236}">
                      <a16:creationId xmlns:a16="http://schemas.microsoft.com/office/drawing/2014/main" id="{B45C5553-32FE-4F88-8335-89355930C5A3}"/>
                    </a:ext>
                  </a:extLst>
                </p:cNvPr>
                <p:cNvSpPr/>
                <p:nvPr/>
              </p:nvSpPr>
              <p:spPr>
                <a:xfrm>
                  <a:off x="3077319" y="3711270"/>
                  <a:ext cx="415608" cy="415608"/>
                </a:xfrm>
                <a:custGeom>
                  <a:avLst/>
                  <a:gdLst>
                    <a:gd name="connsiteX0" fmla="*/ 297853 w 415608"/>
                    <a:gd name="connsiteY0" fmla="*/ 20780 h 415608"/>
                    <a:gd name="connsiteX1" fmla="*/ 20780 w 415608"/>
                    <a:gd name="connsiteY1" fmla="*/ 297853 h 415608"/>
                    <a:gd name="connsiteX2" fmla="*/ 20780 w 415608"/>
                    <a:gd name="connsiteY2" fmla="*/ 394828 h 415608"/>
                    <a:gd name="connsiteX3" fmla="*/ 69268 w 415608"/>
                    <a:gd name="connsiteY3" fmla="*/ 415608 h 415608"/>
                    <a:gd name="connsiteX4" fmla="*/ 117756 w 415608"/>
                    <a:gd name="connsiteY4" fmla="*/ 394828 h 415608"/>
                    <a:gd name="connsiteX5" fmla="*/ 394828 w 415608"/>
                    <a:gd name="connsiteY5" fmla="*/ 117756 h 415608"/>
                    <a:gd name="connsiteX6" fmla="*/ 394828 w 415608"/>
                    <a:gd name="connsiteY6" fmla="*/ 20780 h 415608"/>
                    <a:gd name="connsiteX7" fmla="*/ 297853 w 415608"/>
                    <a:gd name="connsiteY7" fmla="*/ 20780 h 415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5608" h="415608">
                      <a:moveTo>
                        <a:pt x="297853" y="20780"/>
                      </a:moveTo>
                      <a:lnTo>
                        <a:pt x="20780" y="297853"/>
                      </a:lnTo>
                      <a:cubicBezTo>
                        <a:pt x="-6927" y="325560"/>
                        <a:pt x="-6927" y="367121"/>
                        <a:pt x="20780" y="394828"/>
                      </a:cubicBezTo>
                      <a:cubicBezTo>
                        <a:pt x="34634" y="408682"/>
                        <a:pt x="55414" y="415608"/>
                        <a:pt x="69268" y="415608"/>
                      </a:cubicBezTo>
                      <a:cubicBezTo>
                        <a:pt x="83122" y="415608"/>
                        <a:pt x="103902" y="408682"/>
                        <a:pt x="117756" y="394828"/>
                      </a:cubicBezTo>
                      <a:lnTo>
                        <a:pt x="394828" y="117756"/>
                      </a:lnTo>
                      <a:cubicBezTo>
                        <a:pt x="422535" y="90048"/>
                        <a:pt x="422535" y="48488"/>
                        <a:pt x="394828" y="20780"/>
                      </a:cubicBezTo>
                      <a:cubicBezTo>
                        <a:pt x="367121" y="-6927"/>
                        <a:pt x="325560" y="-6927"/>
                        <a:pt x="297853" y="20780"/>
                      </a:cubicBezTo>
                      <a:close/>
                    </a:path>
                  </a:pathLst>
                </a:custGeom>
                <a:solidFill>
                  <a:srgbClr val="322153"/>
                </a:solidFill>
                <a:ln w="8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13608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什么是冠状病毒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60400" y="1423552"/>
            <a:ext cx="10858500" cy="1092200"/>
            <a:chOff x="660400" y="1312001"/>
            <a:chExt cx="10858500" cy="1092200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F6C0B8BD-8162-4FCA-B7AC-235FD87189C5}"/>
                </a:ext>
              </a:extLst>
            </p:cNvPr>
            <p:cNvSpPr txBox="1"/>
            <p:nvPr/>
          </p:nvSpPr>
          <p:spPr>
            <a:xfrm>
              <a:off x="660400" y="1636722"/>
              <a:ext cx="10858500" cy="76747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zh-CN" altLang="en-US" sz="1600" b="1" dirty="0">
                  <a:cs typeface="+mn-ea"/>
                  <a:sym typeface="+mn-lt"/>
                </a:rPr>
                <a:t> 除本次发现的新型冠状病毒（</a:t>
              </a:r>
              <a:r>
                <a:rPr lang="en-US" altLang="zh-CN" sz="1600" b="1" dirty="0">
                  <a:cs typeface="+mn-ea"/>
                  <a:sym typeface="+mn-lt"/>
                </a:rPr>
                <a:t>WHO</a:t>
              </a:r>
              <a:r>
                <a:rPr lang="zh-CN" altLang="en-US" sz="1600" b="1" dirty="0">
                  <a:cs typeface="+mn-ea"/>
                  <a:sym typeface="+mn-lt"/>
                </a:rPr>
                <a:t>已命名为“</a:t>
              </a:r>
              <a:r>
                <a:rPr lang="en-US" altLang="zh-CN" sz="1600" b="1" dirty="0">
                  <a:cs typeface="+mn-ea"/>
                  <a:sym typeface="+mn-lt"/>
                </a:rPr>
                <a:t>2019-nCOV”</a:t>
              </a:r>
              <a:r>
                <a:rPr lang="zh-CN" altLang="en-US" sz="1600" b="1" dirty="0">
                  <a:cs typeface="+mn-ea"/>
                  <a:sym typeface="+mn-lt"/>
                </a:rPr>
                <a:t>，即</a:t>
              </a:r>
              <a:r>
                <a:rPr lang="en-US" altLang="zh-CN" sz="1600" b="1" dirty="0">
                  <a:cs typeface="+mn-ea"/>
                  <a:sym typeface="+mn-lt"/>
                </a:rPr>
                <a:t>2019</a:t>
              </a:r>
              <a:r>
                <a:rPr lang="zh-CN" altLang="en-US" sz="1600" b="1" dirty="0">
                  <a:cs typeface="+mn-ea"/>
                  <a:sym typeface="+mn-lt"/>
                </a:rPr>
                <a:t>新型冠状病毒）外，</a:t>
              </a:r>
              <a:endParaRPr lang="en-US" altLang="zh-CN" sz="1600" b="1" dirty="0">
                <a:cs typeface="+mn-ea"/>
                <a:sym typeface="+mn-lt"/>
              </a:endParaRPr>
            </a:p>
            <a:p>
              <a:pPr algn="ctr">
                <a:buSzPct val="25000"/>
              </a:pPr>
              <a:r>
                <a:rPr lang="zh-CN" altLang="en-US" sz="1600" b="1" dirty="0">
                  <a:cs typeface="+mn-ea"/>
                  <a:sym typeface="+mn-lt"/>
                </a:rPr>
                <a:t>已知感染人的还有</a:t>
              </a:r>
              <a:r>
                <a:rPr lang="en-US" altLang="zh-CN" sz="1600" b="1" dirty="0">
                  <a:cs typeface="+mn-ea"/>
                  <a:sym typeface="+mn-lt"/>
                </a:rPr>
                <a:t>6</a:t>
              </a:r>
              <a:r>
                <a:rPr lang="zh-CN" altLang="en-US" sz="1600" b="1" dirty="0">
                  <a:cs typeface="+mn-ea"/>
                  <a:sym typeface="+mn-lt"/>
                </a:rPr>
                <a:t>种。其中</a:t>
              </a:r>
              <a:r>
                <a:rPr lang="en-US" altLang="zh-CN" sz="1600" b="1" dirty="0">
                  <a:cs typeface="+mn-ea"/>
                  <a:sym typeface="+mn-lt"/>
                </a:rPr>
                <a:t>4</a:t>
              </a:r>
              <a:r>
                <a:rPr lang="zh-CN" altLang="en-US" sz="1600" b="1" dirty="0">
                  <a:cs typeface="+mn-ea"/>
                  <a:sym typeface="+mn-lt"/>
                </a:rPr>
                <a:t>种致病性较低，另外两种是我们熟知的</a:t>
              </a:r>
              <a:r>
                <a:rPr lang="en-US" altLang="zh-CN" sz="1600" b="1" dirty="0">
                  <a:cs typeface="+mn-ea"/>
                  <a:sym typeface="+mn-lt"/>
                </a:rPr>
                <a:t>SARS</a:t>
              </a:r>
              <a:r>
                <a:rPr lang="zh-CN" altLang="en-US" sz="1600" b="1" dirty="0">
                  <a:cs typeface="+mn-ea"/>
                  <a:sym typeface="+mn-lt"/>
                </a:rPr>
                <a:t>冠状病毒和</a:t>
              </a:r>
              <a:r>
                <a:rPr lang="en-US" altLang="zh-CN" sz="1600" b="1" dirty="0">
                  <a:cs typeface="+mn-ea"/>
                  <a:sym typeface="+mn-lt"/>
                </a:rPr>
                <a:t>MERS</a:t>
              </a:r>
              <a:r>
                <a:rPr lang="zh-CN" altLang="en-US" sz="1600" b="1" dirty="0">
                  <a:cs typeface="+mn-ea"/>
                  <a:sym typeface="+mn-lt"/>
                </a:rPr>
                <a:t>冠状病毒。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60400" y="1312001"/>
              <a:ext cx="10858500" cy="3247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i="1" dirty="0">
                  <a:cs typeface="+mn-ea"/>
                  <a:sym typeface="+mn-lt"/>
                </a:rPr>
                <a:t>“2019-nCOV”</a:t>
              </a: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4526A6D4-3938-483E-AE04-387A4D4F50AE}"/>
              </a:ext>
            </a:extLst>
          </p:cNvPr>
          <p:cNvSpPr txBox="1"/>
          <p:nvPr/>
        </p:nvSpPr>
        <p:spPr>
          <a:xfrm>
            <a:off x="660400" y="4845501"/>
            <a:ext cx="10858500" cy="125519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buSzPct val="25000"/>
            </a:pPr>
            <a:r>
              <a:rPr lang="zh-CN" altLang="en-US" sz="1400" dirty="0">
                <a:cs typeface="+mn-ea"/>
                <a:sym typeface="+mn-lt"/>
              </a:rPr>
              <a:t>但这次发现的新型冠状病毒与</a:t>
            </a:r>
            <a:r>
              <a:rPr lang="en-US" altLang="zh-CN" sz="1400" dirty="0">
                <a:cs typeface="+mn-ea"/>
                <a:sym typeface="+mn-lt"/>
              </a:rPr>
              <a:t>SARS</a:t>
            </a:r>
            <a:r>
              <a:rPr lang="zh-CN" altLang="en-US" sz="1400" dirty="0">
                <a:cs typeface="+mn-ea"/>
                <a:sym typeface="+mn-lt"/>
              </a:rPr>
              <a:t>冠病毒和</a:t>
            </a:r>
            <a:r>
              <a:rPr lang="en-US" altLang="zh-CN" sz="1400" dirty="0">
                <a:cs typeface="+mn-ea"/>
                <a:sym typeface="+mn-lt"/>
              </a:rPr>
              <a:t>MERS</a:t>
            </a:r>
            <a:r>
              <a:rPr lang="zh-CN" altLang="en-US" sz="1400" dirty="0">
                <a:cs typeface="+mn-ea"/>
                <a:sym typeface="+mn-lt"/>
              </a:rPr>
              <a:t>冠状病毒有很大不同。</a:t>
            </a:r>
            <a:endParaRPr lang="en-US" altLang="zh-CN" sz="14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buSzPct val="25000"/>
            </a:pPr>
            <a:r>
              <a:rPr lang="zh-CN" altLang="en-US" sz="1400" dirty="0">
                <a:cs typeface="+mn-ea"/>
                <a:sym typeface="+mn-lt"/>
              </a:rPr>
              <a:t>新型冠状病毒虽然是</a:t>
            </a:r>
            <a:r>
              <a:rPr lang="en-US" altLang="zh-CN" sz="1400" dirty="0">
                <a:cs typeface="+mn-ea"/>
                <a:sym typeface="+mn-lt"/>
              </a:rPr>
              <a:t>SARS</a:t>
            </a:r>
            <a:r>
              <a:rPr lang="zh-CN" altLang="en-US" sz="1400" dirty="0">
                <a:cs typeface="+mn-ea"/>
                <a:sym typeface="+mn-lt"/>
              </a:rPr>
              <a:t>近亲，但还未表现出</a:t>
            </a:r>
            <a:r>
              <a:rPr lang="en-US" altLang="zh-CN" sz="1400" dirty="0">
                <a:cs typeface="+mn-ea"/>
                <a:sym typeface="+mn-lt"/>
              </a:rPr>
              <a:t>SARS</a:t>
            </a:r>
            <a:r>
              <a:rPr lang="zh-CN" altLang="en-US" sz="1400" dirty="0">
                <a:cs typeface="+mn-ea"/>
                <a:sym typeface="+mn-lt"/>
              </a:rPr>
              <a:t>那么可怕的特性，因此，不必为此感到恐慌。</a:t>
            </a:r>
          </a:p>
        </p:txBody>
      </p:sp>
      <p:grpSp>
        <p:nvGrpSpPr>
          <p:cNvPr id="743" name="组合 742"/>
          <p:cNvGrpSpPr/>
          <p:nvPr/>
        </p:nvGrpSpPr>
        <p:grpSpPr>
          <a:xfrm>
            <a:off x="660400" y="2671999"/>
            <a:ext cx="10858500" cy="1971943"/>
            <a:chOff x="660400" y="2344262"/>
            <a:chExt cx="10858500" cy="1971943"/>
          </a:xfrm>
        </p:grpSpPr>
        <p:sp>
          <p:nvSpPr>
            <p:cNvPr id="734" name="任意多边形: 形状 733"/>
            <p:cNvSpPr/>
            <p:nvPr/>
          </p:nvSpPr>
          <p:spPr>
            <a:xfrm rot="20509463">
              <a:off x="947199" y="2878802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4">
                <a:lumMod val="90000"/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35" name="任意多边形: 形状 734"/>
            <p:cNvSpPr/>
            <p:nvPr/>
          </p:nvSpPr>
          <p:spPr>
            <a:xfrm rot="20509463">
              <a:off x="2478307" y="2878802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4">
                <a:lumMod val="90000"/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36" name="任意多边形: 形状 735"/>
            <p:cNvSpPr/>
            <p:nvPr/>
          </p:nvSpPr>
          <p:spPr>
            <a:xfrm rot="20509463">
              <a:off x="4009415" y="2878802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4">
                <a:lumMod val="90000"/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37" name="任意多边形: 形状 736"/>
            <p:cNvSpPr/>
            <p:nvPr/>
          </p:nvSpPr>
          <p:spPr>
            <a:xfrm rot="20509463">
              <a:off x="5540523" y="2878802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4">
                <a:lumMod val="90000"/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38" name="任意多边形: 形状 737"/>
            <p:cNvSpPr/>
            <p:nvPr/>
          </p:nvSpPr>
          <p:spPr>
            <a:xfrm rot="20509463">
              <a:off x="7071630" y="2878802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4">
                <a:lumMod val="90000"/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39" name="任意多边形: 形状 738"/>
            <p:cNvSpPr/>
            <p:nvPr/>
          </p:nvSpPr>
          <p:spPr>
            <a:xfrm rot="20509463">
              <a:off x="8602738" y="2878802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4">
                <a:lumMod val="90000"/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40" name="任意多边形: 形状 739"/>
            <p:cNvSpPr/>
            <p:nvPr/>
          </p:nvSpPr>
          <p:spPr>
            <a:xfrm rot="20509463">
              <a:off x="10133847" y="2878802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4">
                <a:lumMod val="90000"/>
                <a:alpha val="2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6" name="矩形: 圆角 5"/>
            <p:cNvSpPr/>
            <p:nvPr/>
          </p:nvSpPr>
          <p:spPr>
            <a:xfrm>
              <a:off x="660400" y="2344262"/>
              <a:ext cx="10858500" cy="1971943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90000"/>
                <a:alpha val="50000"/>
              </a:schemeClr>
            </a:solidFill>
            <a:ln w="38100">
              <a:solidFill>
                <a:schemeClr val="bg1"/>
              </a:solidFill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" name="矩形: 圆角 6"/>
            <p:cNvSpPr/>
            <p:nvPr/>
          </p:nvSpPr>
          <p:spPr>
            <a:xfrm>
              <a:off x="4494702" y="2344262"/>
              <a:ext cx="3189896" cy="197194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7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5534173" y="2878803"/>
              <a:ext cx="1110954" cy="90286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01409" h="488759">
                  <a:moveTo>
                    <a:pt x="0" y="418641"/>
                  </a:moveTo>
                  <a:lnTo>
                    <a:pt x="231090" y="418641"/>
                  </a:lnTo>
                  <a:lnTo>
                    <a:pt x="231090" y="454416"/>
                  </a:lnTo>
                  <a:lnTo>
                    <a:pt x="371754" y="454416"/>
                  </a:lnTo>
                  <a:lnTo>
                    <a:pt x="371754" y="418641"/>
                  </a:lnTo>
                  <a:lnTo>
                    <a:pt x="601409" y="418641"/>
                  </a:lnTo>
                  <a:lnTo>
                    <a:pt x="601409" y="488759"/>
                  </a:lnTo>
                  <a:lnTo>
                    <a:pt x="0" y="488759"/>
                  </a:lnTo>
                  <a:close/>
                  <a:moveTo>
                    <a:pt x="284242" y="126825"/>
                  </a:moveTo>
                  <a:cubicBezTo>
                    <a:pt x="271673" y="126825"/>
                    <a:pt x="259105" y="131847"/>
                    <a:pt x="249768" y="141890"/>
                  </a:cubicBezTo>
                  <a:cubicBezTo>
                    <a:pt x="231094" y="160542"/>
                    <a:pt x="231094" y="192106"/>
                    <a:pt x="249768" y="210758"/>
                  </a:cubicBezTo>
                  <a:cubicBezTo>
                    <a:pt x="268441" y="230844"/>
                    <a:pt x="300043" y="230844"/>
                    <a:pt x="318716" y="210758"/>
                  </a:cubicBezTo>
                  <a:cubicBezTo>
                    <a:pt x="338826" y="192106"/>
                    <a:pt x="338826" y="160542"/>
                    <a:pt x="318716" y="141890"/>
                  </a:cubicBezTo>
                  <a:cubicBezTo>
                    <a:pt x="309380" y="131847"/>
                    <a:pt x="296811" y="126825"/>
                    <a:pt x="284242" y="126825"/>
                  </a:cubicBezTo>
                  <a:close/>
                  <a:moveTo>
                    <a:pt x="284422" y="100282"/>
                  </a:moveTo>
                  <a:cubicBezTo>
                    <a:pt x="303993" y="100282"/>
                    <a:pt x="323744" y="107456"/>
                    <a:pt x="338826" y="121803"/>
                  </a:cubicBezTo>
                  <a:cubicBezTo>
                    <a:pt x="361809" y="144759"/>
                    <a:pt x="366119" y="179193"/>
                    <a:pt x="353191" y="207888"/>
                  </a:cubicBezTo>
                  <a:lnTo>
                    <a:pt x="397720" y="250931"/>
                  </a:lnTo>
                  <a:lnTo>
                    <a:pt x="360373" y="289669"/>
                  </a:lnTo>
                  <a:lnTo>
                    <a:pt x="315843" y="245192"/>
                  </a:lnTo>
                  <a:cubicBezTo>
                    <a:pt x="288551" y="258105"/>
                    <a:pt x="254077" y="252366"/>
                    <a:pt x="231094" y="229410"/>
                  </a:cubicBezTo>
                  <a:cubicBezTo>
                    <a:pt x="200929" y="200715"/>
                    <a:pt x="200929" y="151933"/>
                    <a:pt x="231094" y="121803"/>
                  </a:cubicBezTo>
                  <a:cubicBezTo>
                    <a:pt x="245459" y="107456"/>
                    <a:pt x="264850" y="100282"/>
                    <a:pt x="284422" y="100282"/>
                  </a:cubicBezTo>
                  <a:close/>
                  <a:moveTo>
                    <a:pt x="100420" y="57336"/>
                  </a:moveTo>
                  <a:lnTo>
                    <a:pt x="100420" y="326820"/>
                  </a:lnTo>
                  <a:lnTo>
                    <a:pt x="500990" y="326820"/>
                  </a:lnTo>
                  <a:lnTo>
                    <a:pt x="500990" y="57336"/>
                  </a:lnTo>
                  <a:close/>
                  <a:moveTo>
                    <a:pt x="42991" y="0"/>
                  </a:moveTo>
                  <a:lnTo>
                    <a:pt x="558419" y="0"/>
                  </a:lnTo>
                  <a:lnTo>
                    <a:pt x="558419" y="384156"/>
                  </a:lnTo>
                  <a:lnTo>
                    <a:pt x="42991" y="384156"/>
                  </a:ln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7500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感染患者的临床表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015059" y="2898982"/>
            <a:ext cx="1838965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 spc="100" dirty="0">
                <a:solidFill>
                  <a:schemeClr val="accent3"/>
                </a:solidFill>
                <a:cs typeface="+mn-ea"/>
                <a:sym typeface="+mn-lt"/>
              </a:rPr>
              <a:t>/02</a:t>
            </a:r>
            <a:endParaRPr lang="zh-CN" altLang="en-US" sz="8800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8704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感染患者的临床表现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>
                  <a:cs typeface="+mn-ea"/>
                  <a:sym typeface="+mn-lt"/>
                </a:rPr>
                <a:t>Supporting 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ext </a:t>
              </a:r>
              <a:r>
                <a:rPr lang="en-US" altLang="zh-CN" sz="1000" dirty="0">
                  <a:cs typeface="+mn-ea"/>
                  <a:sym typeface="+mn-lt"/>
                </a:rPr>
                <a:t>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67809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干咳</a:t>
              </a: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>
                  <a:cs typeface="+mn-ea"/>
                  <a:sym typeface="+mn-lt"/>
                </a:rPr>
                <a:t>Supporting 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ext </a:t>
              </a:r>
              <a:r>
                <a:rPr lang="en-US" altLang="zh-CN" sz="1000" dirty="0">
                  <a:cs typeface="+mn-ea"/>
                  <a:sym typeface="+mn-lt"/>
                </a:rPr>
                <a:t>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乏力</a:t>
              </a: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2"/>
              <a:ext cx="2739853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>
                  <a:cs typeface="+mn-ea"/>
                  <a:sym typeface="+mn-lt"/>
                </a:rPr>
                <a:t>Suppor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ting </a:t>
              </a:r>
              <a:r>
                <a:rPr lang="en-US" altLang="zh-CN" sz="1000" dirty="0">
                  <a:cs typeface="+mn-ea"/>
                  <a:sym typeface="+mn-lt"/>
                </a:rPr>
                <a:t>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2" y="2254444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发热</a:t>
              </a: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2741712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dirty="0">
                  <a:cs typeface="+mn-ea"/>
                  <a:sym typeface="+mn-lt"/>
                </a:rPr>
                <a:t>注意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2741713" cy="2422684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200" dirty="0">
                  <a:cs typeface="+mn-ea"/>
                  <a:sym typeface="+mn-lt"/>
                </a:rPr>
                <a:t>一般症状包括发热、乏力、干咳、逐渐出现呼吸困难等，部分患者起病症状轻微，可无发热。严重者可出现急性呼吸窘迫综合征、脓毒症休克、难以纠正的代谢性酸中毒、出凝血功能障碍等。多数患者症状为轻、中度，预后良好，少数患者病情危重，甚至死亡。</a:t>
              </a: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207000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此次疫情的病例特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015059" y="2898982"/>
            <a:ext cx="1794081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 spc="100" dirty="0">
                <a:solidFill>
                  <a:schemeClr val="accent3"/>
                </a:solidFill>
                <a:cs typeface="+mn-ea"/>
                <a:sym typeface="+mn-lt"/>
              </a:rPr>
              <a:t>/03</a:t>
            </a:r>
            <a:endParaRPr lang="zh-CN" altLang="en-US" sz="8800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46524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此次疫情的病例特点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4341D4B4-F82F-43F2-A547-EDCA79601FBC}"/>
              </a:ext>
            </a:extLst>
          </p:cNvPr>
          <p:cNvSpPr/>
          <p:nvPr/>
        </p:nvSpPr>
        <p:spPr>
          <a:xfrm>
            <a:off x="1219198" y="4235144"/>
            <a:ext cx="10284567" cy="165545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  <a:alpha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AC751564-06EE-4585-A0F8-29AF6CEAEE6D}"/>
              </a:ext>
            </a:extLst>
          </p:cNvPr>
          <p:cNvGrpSpPr/>
          <p:nvPr/>
        </p:nvGrpSpPr>
        <p:grpSpPr>
          <a:xfrm>
            <a:off x="3400105" y="4477668"/>
            <a:ext cx="2497742" cy="1290292"/>
            <a:chOff x="3066961" y="4445777"/>
            <a:chExt cx="2497742" cy="1290292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D5626427-10EE-4EB1-898A-DD6B070234A2}"/>
                </a:ext>
              </a:extLst>
            </p:cNvPr>
            <p:cNvSpPr/>
            <p:nvPr/>
          </p:nvSpPr>
          <p:spPr>
            <a:xfrm>
              <a:off x="3066961" y="5028833"/>
              <a:ext cx="2497742" cy="707236"/>
            </a:xfrm>
            <a:prstGeom prst="rect">
              <a:avLst/>
            </a:prstGeom>
          </p:spPr>
          <p:txBody>
            <a:bodyPr wrap="square" anchor="ctr">
              <a:normAutofit/>
            </a:bodyPr>
            <a:lstStyle/>
            <a:p>
              <a:pPr algn="ctr"/>
              <a:r>
                <a:rPr lang="zh-CN" altLang="en-US" sz="1600" dirty="0">
                  <a:cs typeface="+mn-ea"/>
                  <a:sym typeface="+mn-lt"/>
                </a:rPr>
                <a:t>高危人群多为老年人、有基础病者及肥胖者</a:t>
              </a:r>
              <a:endParaRPr lang="en-US" altLang="zh-CN" sz="1600" dirty="0">
                <a:cs typeface="+mn-ea"/>
                <a:sym typeface="+mn-lt"/>
              </a:endParaRPr>
            </a:p>
          </p:txBody>
        </p: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688AB70E-DD80-4387-8097-F90A6D5AE1EE}"/>
                </a:ext>
              </a:extLst>
            </p:cNvPr>
            <p:cNvGrpSpPr/>
            <p:nvPr/>
          </p:nvGrpSpPr>
          <p:grpSpPr>
            <a:xfrm>
              <a:off x="4056565" y="4445777"/>
              <a:ext cx="518532" cy="518528"/>
              <a:chOff x="3169652" y="1440223"/>
              <a:chExt cx="773393" cy="773388"/>
            </a:xfrm>
          </p:grpSpPr>
          <p:sp>
            <p:nvSpPr>
              <p:cNvPr id="23" name="椭圆 22">
                <a:extLst>
                  <a:ext uri="{FF2B5EF4-FFF2-40B4-BE49-F238E27FC236}">
                    <a16:creationId xmlns:a16="http://schemas.microsoft.com/office/drawing/2014/main" id="{40F312D4-6A89-40A5-AEA6-EEA5FC6BDBEF}"/>
                  </a:ext>
                </a:extLst>
              </p:cNvPr>
              <p:cNvSpPr/>
              <p:nvPr/>
            </p:nvSpPr>
            <p:spPr bwMode="auto">
              <a:xfrm>
                <a:off x="3169652" y="1440223"/>
                <a:ext cx="773393" cy="77338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98DEEF66-1189-4181-9426-B6AE1B94D3BC}"/>
                  </a:ext>
                </a:extLst>
              </p:cNvPr>
              <p:cNvSpPr/>
              <p:nvPr/>
            </p:nvSpPr>
            <p:spPr bwMode="auto">
              <a:xfrm>
                <a:off x="3356200" y="1648073"/>
                <a:ext cx="400293" cy="399733"/>
              </a:xfrm>
              <a:custGeom>
                <a:avLst/>
                <a:gdLst>
                  <a:gd name="connsiteX0" fmla="*/ 290568 w 606933"/>
                  <a:gd name="connsiteY0" fmla="*/ 453254 h 606087"/>
                  <a:gd name="connsiteX1" fmla="*/ 202356 w 606933"/>
                  <a:gd name="connsiteY1" fmla="*/ 490861 h 606087"/>
                  <a:gd name="connsiteX2" fmla="*/ 202356 w 606933"/>
                  <a:gd name="connsiteY2" fmla="*/ 558573 h 606087"/>
                  <a:gd name="connsiteX3" fmla="*/ 476526 w 606933"/>
                  <a:gd name="connsiteY3" fmla="*/ 286379 h 606087"/>
                  <a:gd name="connsiteX4" fmla="*/ 491068 w 606933"/>
                  <a:gd name="connsiteY4" fmla="*/ 289842 h 606087"/>
                  <a:gd name="connsiteX5" fmla="*/ 491935 w 606933"/>
                  <a:gd name="connsiteY5" fmla="*/ 304942 h 606087"/>
                  <a:gd name="connsiteX6" fmla="*/ 326585 w 606933"/>
                  <a:gd name="connsiteY6" fmla="*/ 559439 h 606087"/>
                  <a:gd name="connsiteX7" fmla="*/ 315992 w 606933"/>
                  <a:gd name="connsiteY7" fmla="*/ 565114 h 606087"/>
                  <a:gd name="connsiteX8" fmla="*/ 309732 w 606933"/>
                  <a:gd name="connsiteY8" fmla="*/ 563479 h 606087"/>
                  <a:gd name="connsiteX9" fmla="*/ 256670 w 606933"/>
                  <a:gd name="connsiteY9" fmla="*/ 533181 h 606087"/>
                  <a:gd name="connsiteX10" fmla="*/ 199370 w 606933"/>
                  <a:gd name="connsiteY10" fmla="*/ 601470 h 606087"/>
                  <a:gd name="connsiteX11" fmla="*/ 189644 w 606933"/>
                  <a:gd name="connsiteY11" fmla="*/ 606087 h 606087"/>
                  <a:gd name="connsiteX12" fmla="*/ 185407 w 606933"/>
                  <a:gd name="connsiteY12" fmla="*/ 605318 h 606087"/>
                  <a:gd name="connsiteX13" fmla="*/ 177028 w 606933"/>
                  <a:gd name="connsiteY13" fmla="*/ 593391 h 606087"/>
                  <a:gd name="connsiteX14" fmla="*/ 177028 w 606933"/>
                  <a:gd name="connsiteY14" fmla="*/ 489611 h 606087"/>
                  <a:gd name="connsiteX15" fmla="*/ 119729 w 606933"/>
                  <a:gd name="connsiteY15" fmla="*/ 454024 h 606087"/>
                  <a:gd name="connsiteX16" fmla="*/ 113854 w 606933"/>
                  <a:gd name="connsiteY16" fmla="*/ 442290 h 606087"/>
                  <a:gd name="connsiteX17" fmla="*/ 121655 w 606933"/>
                  <a:gd name="connsiteY17" fmla="*/ 431710 h 606087"/>
                  <a:gd name="connsiteX18" fmla="*/ 380417 w 606933"/>
                  <a:gd name="connsiteY18" fmla="*/ 0 h 606087"/>
                  <a:gd name="connsiteX19" fmla="*/ 381573 w 606933"/>
                  <a:gd name="connsiteY19" fmla="*/ 0 h 606087"/>
                  <a:gd name="connsiteX20" fmla="*/ 527383 w 606933"/>
                  <a:gd name="connsiteY20" fmla="*/ 140893 h 606087"/>
                  <a:gd name="connsiteX21" fmla="*/ 520834 w 606933"/>
                  <a:gd name="connsiteY21" fmla="*/ 194845 h 606087"/>
                  <a:gd name="connsiteX22" fmla="*/ 606933 w 606933"/>
                  <a:gd name="connsiteY22" fmla="*/ 306598 h 606087"/>
                  <a:gd name="connsiteX23" fmla="*/ 493097 w 606933"/>
                  <a:gd name="connsiteY23" fmla="*/ 416619 h 606087"/>
                  <a:gd name="connsiteX24" fmla="*/ 449470 w 606933"/>
                  <a:gd name="connsiteY24" fmla="*/ 416619 h 606087"/>
                  <a:gd name="connsiteX25" fmla="*/ 513129 w 606933"/>
                  <a:gd name="connsiteY25" fmla="*/ 318619 h 606087"/>
                  <a:gd name="connsiteX26" fmla="*/ 510529 w 606933"/>
                  <a:gd name="connsiteY26" fmla="*/ 273803 h 606087"/>
                  <a:gd name="connsiteX27" fmla="*/ 481348 w 606933"/>
                  <a:gd name="connsiteY27" fmla="*/ 260146 h 606087"/>
                  <a:gd name="connsiteX28" fmla="*/ 466901 w 606933"/>
                  <a:gd name="connsiteY28" fmla="*/ 262935 h 606087"/>
                  <a:gd name="connsiteX29" fmla="*/ 112006 w 606933"/>
                  <a:gd name="connsiteY29" fmla="*/ 408252 h 606087"/>
                  <a:gd name="connsiteX30" fmla="*/ 100353 w 606933"/>
                  <a:gd name="connsiteY30" fmla="*/ 415946 h 606087"/>
                  <a:gd name="connsiteX31" fmla="*/ 0 w 606933"/>
                  <a:gd name="connsiteY31" fmla="*/ 306598 h 606087"/>
                  <a:gd name="connsiteX32" fmla="*/ 63949 w 606933"/>
                  <a:gd name="connsiteY32" fmla="*/ 203020 h 606087"/>
                  <a:gd name="connsiteX33" fmla="*/ 68764 w 606933"/>
                  <a:gd name="connsiteY33" fmla="*/ 146567 h 606087"/>
                  <a:gd name="connsiteX34" fmla="*/ 162087 w 606933"/>
                  <a:gd name="connsiteY34" fmla="*/ 71552 h 606087"/>
                  <a:gd name="connsiteX35" fmla="*/ 242985 w 606933"/>
                  <a:gd name="connsiteY35" fmla="*/ 96365 h 606087"/>
                  <a:gd name="connsiteX36" fmla="*/ 380417 w 606933"/>
                  <a:gd name="connsiteY36" fmla="*/ 0 h 60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6933" h="606087">
                    <a:moveTo>
                      <a:pt x="290568" y="453254"/>
                    </a:moveTo>
                    <a:lnTo>
                      <a:pt x="202356" y="490861"/>
                    </a:lnTo>
                    <a:lnTo>
                      <a:pt x="202356" y="558573"/>
                    </a:lnTo>
                    <a:close/>
                    <a:moveTo>
                      <a:pt x="476526" y="286379"/>
                    </a:moveTo>
                    <a:cubicBezTo>
                      <a:pt x="481630" y="284167"/>
                      <a:pt x="487505" y="285706"/>
                      <a:pt x="491068" y="289842"/>
                    </a:cubicBezTo>
                    <a:cubicBezTo>
                      <a:pt x="494631" y="294170"/>
                      <a:pt x="495016" y="300229"/>
                      <a:pt x="491935" y="304942"/>
                    </a:cubicBezTo>
                    <a:lnTo>
                      <a:pt x="326585" y="559439"/>
                    </a:lnTo>
                    <a:cubicBezTo>
                      <a:pt x="324177" y="563094"/>
                      <a:pt x="320133" y="565114"/>
                      <a:pt x="315992" y="565114"/>
                    </a:cubicBezTo>
                    <a:cubicBezTo>
                      <a:pt x="313873" y="565114"/>
                      <a:pt x="311658" y="564633"/>
                      <a:pt x="309732" y="563479"/>
                    </a:cubicBezTo>
                    <a:lnTo>
                      <a:pt x="256670" y="533181"/>
                    </a:lnTo>
                    <a:lnTo>
                      <a:pt x="199370" y="601470"/>
                    </a:lnTo>
                    <a:cubicBezTo>
                      <a:pt x="196866" y="604452"/>
                      <a:pt x="193303" y="606087"/>
                      <a:pt x="189644" y="606087"/>
                    </a:cubicBezTo>
                    <a:cubicBezTo>
                      <a:pt x="188296" y="606087"/>
                      <a:pt x="186755" y="605799"/>
                      <a:pt x="185407" y="605318"/>
                    </a:cubicBezTo>
                    <a:cubicBezTo>
                      <a:pt x="180303" y="603394"/>
                      <a:pt x="177028" y="598777"/>
                      <a:pt x="177028" y="593391"/>
                    </a:cubicBezTo>
                    <a:lnTo>
                      <a:pt x="177028" y="489611"/>
                    </a:lnTo>
                    <a:lnTo>
                      <a:pt x="119729" y="454024"/>
                    </a:lnTo>
                    <a:cubicBezTo>
                      <a:pt x="115684" y="451523"/>
                      <a:pt x="113469" y="447003"/>
                      <a:pt x="113854" y="442290"/>
                    </a:cubicBezTo>
                    <a:cubicBezTo>
                      <a:pt x="114336" y="437481"/>
                      <a:pt x="117225" y="433441"/>
                      <a:pt x="121655" y="431710"/>
                    </a:cubicBezTo>
                    <a:close/>
                    <a:moveTo>
                      <a:pt x="380417" y="0"/>
                    </a:moveTo>
                    <a:lnTo>
                      <a:pt x="381573" y="0"/>
                    </a:lnTo>
                    <a:cubicBezTo>
                      <a:pt x="457463" y="673"/>
                      <a:pt x="522856" y="63762"/>
                      <a:pt x="527383" y="140893"/>
                    </a:cubicBezTo>
                    <a:cubicBezTo>
                      <a:pt x="528346" y="159358"/>
                      <a:pt x="526227" y="177438"/>
                      <a:pt x="520834" y="194845"/>
                    </a:cubicBezTo>
                    <a:cubicBezTo>
                      <a:pt x="570818" y="207059"/>
                      <a:pt x="606933" y="252549"/>
                      <a:pt x="606933" y="306598"/>
                    </a:cubicBezTo>
                    <a:cubicBezTo>
                      <a:pt x="606933" y="370360"/>
                      <a:pt x="558972" y="416619"/>
                      <a:pt x="493097" y="416619"/>
                    </a:cubicBezTo>
                    <a:lnTo>
                      <a:pt x="449470" y="416619"/>
                    </a:lnTo>
                    <a:lnTo>
                      <a:pt x="513129" y="318619"/>
                    </a:lnTo>
                    <a:cubicBezTo>
                      <a:pt x="522279" y="304674"/>
                      <a:pt x="521123" y="286594"/>
                      <a:pt x="510529" y="273803"/>
                    </a:cubicBezTo>
                    <a:cubicBezTo>
                      <a:pt x="503306" y="265147"/>
                      <a:pt x="492616" y="260146"/>
                      <a:pt x="481348" y="260146"/>
                    </a:cubicBezTo>
                    <a:cubicBezTo>
                      <a:pt x="476340" y="260146"/>
                      <a:pt x="471620" y="261012"/>
                      <a:pt x="466901" y="262935"/>
                    </a:cubicBezTo>
                    <a:lnTo>
                      <a:pt x="112006" y="408252"/>
                    </a:lnTo>
                    <a:cubicBezTo>
                      <a:pt x="107576" y="410079"/>
                      <a:pt x="103628" y="412772"/>
                      <a:pt x="100353" y="415946"/>
                    </a:cubicBezTo>
                    <a:cubicBezTo>
                      <a:pt x="41509" y="410079"/>
                      <a:pt x="0" y="365840"/>
                      <a:pt x="0" y="306598"/>
                    </a:cubicBezTo>
                    <a:cubicBezTo>
                      <a:pt x="0" y="262358"/>
                      <a:pt x="25329" y="222062"/>
                      <a:pt x="63949" y="203020"/>
                    </a:cubicBezTo>
                    <a:cubicBezTo>
                      <a:pt x="60578" y="183978"/>
                      <a:pt x="62215" y="165032"/>
                      <a:pt x="68764" y="146567"/>
                    </a:cubicBezTo>
                    <a:cubicBezTo>
                      <a:pt x="83499" y="105213"/>
                      <a:pt x="120000" y="75784"/>
                      <a:pt x="162087" y="71552"/>
                    </a:cubicBezTo>
                    <a:cubicBezTo>
                      <a:pt x="191653" y="68571"/>
                      <a:pt x="220546" y="77804"/>
                      <a:pt x="242985" y="96365"/>
                    </a:cubicBezTo>
                    <a:cubicBezTo>
                      <a:pt x="264558" y="39238"/>
                      <a:pt x="319165" y="0"/>
                      <a:pt x="3804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0F040150-BD15-4DCA-A406-450673C51702}"/>
              </a:ext>
            </a:extLst>
          </p:cNvPr>
          <p:cNvSpPr txBox="1"/>
          <p:nvPr/>
        </p:nvSpPr>
        <p:spPr>
          <a:xfrm>
            <a:off x="3416370" y="1778927"/>
            <a:ext cx="4067684" cy="782344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t" anchorCtr="0">
            <a:normAutofit/>
          </a:bodyPr>
          <a:lstStyle/>
          <a:p>
            <a:pPr>
              <a:buSzPct val="25000"/>
            </a:pPr>
            <a:r>
              <a:rPr lang="zh-CN" altLang="en-US" sz="2000" b="1" dirty="0">
                <a:cs typeface="+mn-ea"/>
                <a:sym typeface="+mn-lt"/>
              </a:rPr>
              <a:t>患者年龄集中在 </a:t>
            </a:r>
            <a:r>
              <a:rPr lang="en-US" altLang="zh-CN" sz="2000" b="1" dirty="0">
                <a:cs typeface="+mn-ea"/>
                <a:sym typeface="+mn-lt"/>
              </a:rPr>
              <a:t>40~60</a:t>
            </a:r>
            <a:r>
              <a:rPr lang="zh-CN" altLang="en-US" sz="2000" b="1" dirty="0">
                <a:cs typeface="+mn-ea"/>
                <a:sym typeface="+mn-lt"/>
              </a:rPr>
              <a:t>岁，并有低年龄儿童患者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CB3C01B-56EE-47E2-8A59-AF62D3A14341}"/>
              </a:ext>
            </a:extLst>
          </p:cNvPr>
          <p:cNvSpPr txBox="1"/>
          <p:nvPr/>
        </p:nvSpPr>
        <p:spPr>
          <a:xfrm>
            <a:off x="3416368" y="2561271"/>
            <a:ext cx="8102532" cy="104217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Theme color makes PPT more convenient to </a:t>
            </a:r>
            <a:r>
              <a:rPr lang="en-US" sz="1200">
                <a:cs typeface="+mn-ea"/>
                <a:sym typeface="+mn-lt"/>
              </a:rPr>
              <a:t>change.</a:t>
            </a:r>
            <a:r>
              <a:rPr lang="en-US" altLang="zh-CN" sz="1200">
                <a:cs typeface="+mn-ea"/>
                <a:sym typeface="+mn-lt"/>
              </a:rPr>
              <a:t> Adjust the spacing to adapt to Chinese typesetting, u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e reference line in PPT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>
                <a:cs typeface="+mn-ea"/>
                <a:sym typeface="+mn-lt"/>
              </a:rPr>
              <a:t>… …</a:t>
            </a:r>
            <a:endParaRPr lang="en-US" sz="1200" dirty="0">
              <a:cs typeface="+mn-ea"/>
              <a:sym typeface="+mn-lt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964B9BC7-CC54-41D6-8640-1D7D56034F06}"/>
              </a:ext>
            </a:extLst>
          </p:cNvPr>
          <p:cNvGrpSpPr/>
          <p:nvPr/>
        </p:nvGrpSpPr>
        <p:grpSpPr>
          <a:xfrm>
            <a:off x="7334307" y="4477668"/>
            <a:ext cx="2497742" cy="1290292"/>
            <a:chOff x="3688321" y="4445777"/>
            <a:chExt cx="2497742" cy="1290292"/>
          </a:xfrm>
        </p:grpSpPr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AA6662C5-0D35-492F-A518-F911D95AF46D}"/>
                </a:ext>
              </a:extLst>
            </p:cNvPr>
            <p:cNvSpPr/>
            <p:nvPr/>
          </p:nvSpPr>
          <p:spPr>
            <a:xfrm>
              <a:off x="3688321" y="5028833"/>
              <a:ext cx="2497742" cy="707236"/>
            </a:xfrm>
            <a:prstGeom prst="rect">
              <a:avLst/>
            </a:prstGeom>
          </p:spPr>
          <p:txBody>
            <a:bodyPr wrap="square" anchor="ctr">
              <a:normAutofit/>
            </a:bodyPr>
            <a:lstStyle/>
            <a:p>
              <a:pPr algn="ctr"/>
              <a:r>
                <a:rPr lang="zh-CN" altLang="en-US" sz="1600" dirty="0">
                  <a:cs typeface="+mn-ea"/>
                  <a:sym typeface="+mn-lt"/>
                </a:rPr>
                <a:t>危重症约占 </a:t>
              </a:r>
              <a:r>
                <a:rPr lang="en-US" altLang="zh-CN" sz="1600" dirty="0">
                  <a:cs typeface="+mn-ea"/>
                  <a:sym typeface="+mn-lt"/>
                </a:rPr>
                <a:t>15%</a:t>
              </a: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8ECFBEFC-5413-4B9D-8169-00987BF7B927}"/>
                </a:ext>
              </a:extLst>
            </p:cNvPr>
            <p:cNvGrpSpPr/>
            <p:nvPr/>
          </p:nvGrpSpPr>
          <p:grpSpPr>
            <a:xfrm>
              <a:off x="4677925" y="4445777"/>
              <a:ext cx="518532" cy="518528"/>
              <a:chOff x="4096413" y="1440223"/>
              <a:chExt cx="773393" cy="773388"/>
            </a:xfrm>
          </p:grpSpPr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F3A996A6-4415-424A-AF64-FDD385B298BA}"/>
                  </a:ext>
                </a:extLst>
              </p:cNvPr>
              <p:cNvSpPr/>
              <p:nvPr/>
            </p:nvSpPr>
            <p:spPr bwMode="auto">
              <a:xfrm>
                <a:off x="4096413" y="1440223"/>
                <a:ext cx="773393" cy="77338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62E62898-841C-4D6D-AC6D-2F9BCE3BA8A2}"/>
                  </a:ext>
                </a:extLst>
              </p:cNvPr>
              <p:cNvSpPr/>
              <p:nvPr/>
            </p:nvSpPr>
            <p:spPr bwMode="auto">
              <a:xfrm>
                <a:off x="4282961" y="1648073"/>
                <a:ext cx="400293" cy="399733"/>
              </a:xfrm>
              <a:custGeom>
                <a:avLst/>
                <a:gdLst>
                  <a:gd name="connsiteX0" fmla="*/ 290568 w 606933"/>
                  <a:gd name="connsiteY0" fmla="*/ 453254 h 606087"/>
                  <a:gd name="connsiteX1" fmla="*/ 202356 w 606933"/>
                  <a:gd name="connsiteY1" fmla="*/ 490861 h 606087"/>
                  <a:gd name="connsiteX2" fmla="*/ 202356 w 606933"/>
                  <a:gd name="connsiteY2" fmla="*/ 558573 h 606087"/>
                  <a:gd name="connsiteX3" fmla="*/ 476526 w 606933"/>
                  <a:gd name="connsiteY3" fmla="*/ 286379 h 606087"/>
                  <a:gd name="connsiteX4" fmla="*/ 491068 w 606933"/>
                  <a:gd name="connsiteY4" fmla="*/ 289842 h 606087"/>
                  <a:gd name="connsiteX5" fmla="*/ 491935 w 606933"/>
                  <a:gd name="connsiteY5" fmla="*/ 304942 h 606087"/>
                  <a:gd name="connsiteX6" fmla="*/ 326585 w 606933"/>
                  <a:gd name="connsiteY6" fmla="*/ 559439 h 606087"/>
                  <a:gd name="connsiteX7" fmla="*/ 315992 w 606933"/>
                  <a:gd name="connsiteY7" fmla="*/ 565114 h 606087"/>
                  <a:gd name="connsiteX8" fmla="*/ 309732 w 606933"/>
                  <a:gd name="connsiteY8" fmla="*/ 563479 h 606087"/>
                  <a:gd name="connsiteX9" fmla="*/ 256670 w 606933"/>
                  <a:gd name="connsiteY9" fmla="*/ 533181 h 606087"/>
                  <a:gd name="connsiteX10" fmla="*/ 199370 w 606933"/>
                  <a:gd name="connsiteY10" fmla="*/ 601470 h 606087"/>
                  <a:gd name="connsiteX11" fmla="*/ 189644 w 606933"/>
                  <a:gd name="connsiteY11" fmla="*/ 606087 h 606087"/>
                  <a:gd name="connsiteX12" fmla="*/ 185407 w 606933"/>
                  <a:gd name="connsiteY12" fmla="*/ 605318 h 606087"/>
                  <a:gd name="connsiteX13" fmla="*/ 177028 w 606933"/>
                  <a:gd name="connsiteY13" fmla="*/ 593391 h 606087"/>
                  <a:gd name="connsiteX14" fmla="*/ 177028 w 606933"/>
                  <a:gd name="connsiteY14" fmla="*/ 489611 h 606087"/>
                  <a:gd name="connsiteX15" fmla="*/ 119729 w 606933"/>
                  <a:gd name="connsiteY15" fmla="*/ 454024 h 606087"/>
                  <a:gd name="connsiteX16" fmla="*/ 113854 w 606933"/>
                  <a:gd name="connsiteY16" fmla="*/ 442290 h 606087"/>
                  <a:gd name="connsiteX17" fmla="*/ 121655 w 606933"/>
                  <a:gd name="connsiteY17" fmla="*/ 431710 h 606087"/>
                  <a:gd name="connsiteX18" fmla="*/ 380417 w 606933"/>
                  <a:gd name="connsiteY18" fmla="*/ 0 h 606087"/>
                  <a:gd name="connsiteX19" fmla="*/ 381573 w 606933"/>
                  <a:gd name="connsiteY19" fmla="*/ 0 h 606087"/>
                  <a:gd name="connsiteX20" fmla="*/ 527383 w 606933"/>
                  <a:gd name="connsiteY20" fmla="*/ 140893 h 606087"/>
                  <a:gd name="connsiteX21" fmla="*/ 520834 w 606933"/>
                  <a:gd name="connsiteY21" fmla="*/ 194845 h 606087"/>
                  <a:gd name="connsiteX22" fmla="*/ 606933 w 606933"/>
                  <a:gd name="connsiteY22" fmla="*/ 306598 h 606087"/>
                  <a:gd name="connsiteX23" fmla="*/ 493097 w 606933"/>
                  <a:gd name="connsiteY23" fmla="*/ 416619 h 606087"/>
                  <a:gd name="connsiteX24" fmla="*/ 449470 w 606933"/>
                  <a:gd name="connsiteY24" fmla="*/ 416619 h 606087"/>
                  <a:gd name="connsiteX25" fmla="*/ 513129 w 606933"/>
                  <a:gd name="connsiteY25" fmla="*/ 318619 h 606087"/>
                  <a:gd name="connsiteX26" fmla="*/ 510529 w 606933"/>
                  <a:gd name="connsiteY26" fmla="*/ 273803 h 606087"/>
                  <a:gd name="connsiteX27" fmla="*/ 481348 w 606933"/>
                  <a:gd name="connsiteY27" fmla="*/ 260146 h 606087"/>
                  <a:gd name="connsiteX28" fmla="*/ 466901 w 606933"/>
                  <a:gd name="connsiteY28" fmla="*/ 262935 h 606087"/>
                  <a:gd name="connsiteX29" fmla="*/ 112006 w 606933"/>
                  <a:gd name="connsiteY29" fmla="*/ 408252 h 606087"/>
                  <a:gd name="connsiteX30" fmla="*/ 100353 w 606933"/>
                  <a:gd name="connsiteY30" fmla="*/ 415946 h 606087"/>
                  <a:gd name="connsiteX31" fmla="*/ 0 w 606933"/>
                  <a:gd name="connsiteY31" fmla="*/ 306598 h 606087"/>
                  <a:gd name="connsiteX32" fmla="*/ 63949 w 606933"/>
                  <a:gd name="connsiteY32" fmla="*/ 203020 h 606087"/>
                  <a:gd name="connsiteX33" fmla="*/ 68764 w 606933"/>
                  <a:gd name="connsiteY33" fmla="*/ 146567 h 606087"/>
                  <a:gd name="connsiteX34" fmla="*/ 162087 w 606933"/>
                  <a:gd name="connsiteY34" fmla="*/ 71552 h 606087"/>
                  <a:gd name="connsiteX35" fmla="*/ 242985 w 606933"/>
                  <a:gd name="connsiteY35" fmla="*/ 96365 h 606087"/>
                  <a:gd name="connsiteX36" fmla="*/ 380417 w 606933"/>
                  <a:gd name="connsiteY36" fmla="*/ 0 h 60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6933" h="606087">
                    <a:moveTo>
                      <a:pt x="290568" y="453254"/>
                    </a:moveTo>
                    <a:lnTo>
                      <a:pt x="202356" y="490861"/>
                    </a:lnTo>
                    <a:lnTo>
                      <a:pt x="202356" y="558573"/>
                    </a:lnTo>
                    <a:close/>
                    <a:moveTo>
                      <a:pt x="476526" y="286379"/>
                    </a:moveTo>
                    <a:cubicBezTo>
                      <a:pt x="481630" y="284167"/>
                      <a:pt x="487505" y="285706"/>
                      <a:pt x="491068" y="289842"/>
                    </a:cubicBezTo>
                    <a:cubicBezTo>
                      <a:pt x="494631" y="294170"/>
                      <a:pt x="495016" y="300229"/>
                      <a:pt x="491935" y="304942"/>
                    </a:cubicBezTo>
                    <a:lnTo>
                      <a:pt x="326585" y="559439"/>
                    </a:lnTo>
                    <a:cubicBezTo>
                      <a:pt x="324177" y="563094"/>
                      <a:pt x="320133" y="565114"/>
                      <a:pt x="315992" y="565114"/>
                    </a:cubicBezTo>
                    <a:cubicBezTo>
                      <a:pt x="313873" y="565114"/>
                      <a:pt x="311658" y="564633"/>
                      <a:pt x="309732" y="563479"/>
                    </a:cubicBezTo>
                    <a:lnTo>
                      <a:pt x="256670" y="533181"/>
                    </a:lnTo>
                    <a:lnTo>
                      <a:pt x="199370" y="601470"/>
                    </a:lnTo>
                    <a:cubicBezTo>
                      <a:pt x="196866" y="604452"/>
                      <a:pt x="193303" y="606087"/>
                      <a:pt x="189644" y="606087"/>
                    </a:cubicBezTo>
                    <a:cubicBezTo>
                      <a:pt x="188296" y="606087"/>
                      <a:pt x="186755" y="605799"/>
                      <a:pt x="185407" y="605318"/>
                    </a:cubicBezTo>
                    <a:cubicBezTo>
                      <a:pt x="180303" y="603394"/>
                      <a:pt x="177028" y="598777"/>
                      <a:pt x="177028" y="593391"/>
                    </a:cubicBezTo>
                    <a:lnTo>
                      <a:pt x="177028" y="489611"/>
                    </a:lnTo>
                    <a:lnTo>
                      <a:pt x="119729" y="454024"/>
                    </a:lnTo>
                    <a:cubicBezTo>
                      <a:pt x="115684" y="451523"/>
                      <a:pt x="113469" y="447003"/>
                      <a:pt x="113854" y="442290"/>
                    </a:cubicBezTo>
                    <a:cubicBezTo>
                      <a:pt x="114336" y="437481"/>
                      <a:pt x="117225" y="433441"/>
                      <a:pt x="121655" y="431710"/>
                    </a:cubicBezTo>
                    <a:close/>
                    <a:moveTo>
                      <a:pt x="380417" y="0"/>
                    </a:moveTo>
                    <a:lnTo>
                      <a:pt x="381573" y="0"/>
                    </a:lnTo>
                    <a:cubicBezTo>
                      <a:pt x="457463" y="673"/>
                      <a:pt x="522856" y="63762"/>
                      <a:pt x="527383" y="140893"/>
                    </a:cubicBezTo>
                    <a:cubicBezTo>
                      <a:pt x="528346" y="159358"/>
                      <a:pt x="526227" y="177438"/>
                      <a:pt x="520834" y="194845"/>
                    </a:cubicBezTo>
                    <a:cubicBezTo>
                      <a:pt x="570818" y="207059"/>
                      <a:pt x="606933" y="252549"/>
                      <a:pt x="606933" y="306598"/>
                    </a:cubicBezTo>
                    <a:cubicBezTo>
                      <a:pt x="606933" y="370360"/>
                      <a:pt x="558972" y="416619"/>
                      <a:pt x="493097" y="416619"/>
                    </a:cubicBezTo>
                    <a:lnTo>
                      <a:pt x="449470" y="416619"/>
                    </a:lnTo>
                    <a:lnTo>
                      <a:pt x="513129" y="318619"/>
                    </a:lnTo>
                    <a:cubicBezTo>
                      <a:pt x="522279" y="304674"/>
                      <a:pt x="521123" y="286594"/>
                      <a:pt x="510529" y="273803"/>
                    </a:cubicBezTo>
                    <a:cubicBezTo>
                      <a:pt x="503306" y="265147"/>
                      <a:pt x="492616" y="260146"/>
                      <a:pt x="481348" y="260146"/>
                    </a:cubicBezTo>
                    <a:cubicBezTo>
                      <a:pt x="476340" y="260146"/>
                      <a:pt x="471620" y="261012"/>
                      <a:pt x="466901" y="262935"/>
                    </a:cubicBezTo>
                    <a:lnTo>
                      <a:pt x="112006" y="408252"/>
                    </a:lnTo>
                    <a:cubicBezTo>
                      <a:pt x="107576" y="410079"/>
                      <a:pt x="103628" y="412772"/>
                      <a:pt x="100353" y="415946"/>
                    </a:cubicBezTo>
                    <a:cubicBezTo>
                      <a:pt x="41509" y="410079"/>
                      <a:pt x="0" y="365840"/>
                      <a:pt x="0" y="306598"/>
                    </a:cubicBezTo>
                    <a:cubicBezTo>
                      <a:pt x="0" y="262358"/>
                      <a:pt x="25329" y="222062"/>
                      <a:pt x="63949" y="203020"/>
                    </a:cubicBezTo>
                    <a:cubicBezTo>
                      <a:pt x="60578" y="183978"/>
                      <a:pt x="62215" y="165032"/>
                      <a:pt x="68764" y="146567"/>
                    </a:cubicBezTo>
                    <a:cubicBezTo>
                      <a:pt x="83499" y="105213"/>
                      <a:pt x="120000" y="75784"/>
                      <a:pt x="162087" y="71552"/>
                    </a:cubicBezTo>
                    <a:cubicBezTo>
                      <a:pt x="191653" y="68571"/>
                      <a:pt x="220546" y="77804"/>
                      <a:pt x="242985" y="96365"/>
                    </a:cubicBezTo>
                    <a:cubicBezTo>
                      <a:pt x="264558" y="39238"/>
                      <a:pt x="319165" y="0"/>
                      <a:pt x="38041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</p:grp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6C97FC93-35F5-4D45-BDD9-E4E9ADC4E307}"/>
              </a:ext>
            </a:extLst>
          </p:cNvPr>
          <p:cNvCxnSpPr>
            <a:cxnSpLocks/>
          </p:cNvCxnSpPr>
          <p:nvPr/>
        </p:nvCxnSpPr>
        <p:spPr>
          <a:xfrm>
            <a:off x="6926757" y="4520126"/>
            <a:ext cx="0" cy="1066747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>
          <a:xfrm>
            <a:off x="957944" y="4228527"/>
            <a:ext cx="1706040" cy="1662071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A516A369-5E65-4C4F-B977-51475B677EC7}"/>
              </a:ext>
            </a:extLst>
          </p:cNvPr>
          <p:cNvGrpSpPr/>
          <p:nvPr/>
        </p:nvGrpSpPr>
        <p:grpSpPr>
          <a:xfrm rot="433328">
            <a:off x="753935" y="2672907"/>
            <a:ext cx="1909198" cy="1923349"/>
            <a:chOff x="1273442" y="1794427"/>
            <a:chExt cx="4037688" cy="4067616"/>
          </a:xfrm>
        </p:grpSpPr>
        <p:grpSp>
          <p:nvGrpSpPr>
            <p:cNvPr id="46" name="组合 45">
              <a:extLst>
                <a:ext uri="{FF2B5EF4-FFF2-40B4-BE49-F238E27FC236}">
                  <a16:creationId xmlns:a16="http://schemas.microsoft.com/office/drawing/2014/main" id="{93DE205B-FE1C-44F9-B1E3-4D8BD981AC83}"/>
                </a:ext>
              </a:extLst>
            </p:cNvPr>
            <p:cNvGrpSpPr/>
            <p:nvPr/>
          </p:nvGrpSpPr>
          <p:grpSpPr>
            <a:xfrm rot="938189">
              <a:off x="1342154" y="2172610"/>
              <a:ext cx="3653050" cy="3689433"/>
              <a:chOff x="1342154" y="2172610"/>
              <a:chExt cx="3653050" cy="3689433"/>
            </a:xfrm>
            <a:solidFill>
              <a:srgbClr val="00F2A9"/>
            </a:solidFill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54C9F9B-EC70-49A2-84AF-290557D8F0AD}"/>
                  </a:ext>
                </a:extLst>
              </p:cNvPr>
              <p:cNvSpPr/>
              <p:nvPr/>
            </p:nvSpPr>
            <p:spPr>
              <a:xfrm>
                <a:off x="1342154" y="4916535"/>
                <a:ext cx="945509" cy="945508"/>
              </a:xfrm>
              <a:custGeom>
                <a:avLst/>
                <a:gdLst>
                  <a:gd name="connsiteX0" fmla="*/ 467559 w 945509"/>
                  <a:gd name="connsiteY0" fmla="*/ 851997 h 945508"/>
                  <a:gd name="connsiteX1" fmla="*/ 924729 w 945509"/>
                  <a:gd name="connsiteY1" fmla="*/ 851997 h 945508"/>
                  <a:gd name="connsiteX2" fmla="*/ 924729 w 945509"/>
                  <a:gd name="connsiteY2" fmla="*/ 755022 h 945508"/>
                  <a:gd name="connsiteX3" fmla="*/ 190487 w 945509"/>
                  <a:gd name="connsiteY3" fmla="*/ 20780 h 945508"/>
                  <a:gd name="connsiteX4" fmla="*/ 93512 w 945509"/>
                  <a:gd name="connsiteY4" fmla="*/ 20780 h 945508"/>
                  <a:gd name="connsiteX5" fmla="*/ 93512 w 945509"/>
                  <a:gd name="connsiteY5" fmla="*/ 477950 h 945508"/>
                  <a:gd name="connsiteX6" fmla="*/ 467559 w 945509"/>
                  <a:gd name="connsiteY6" fmla="*/ 851997 h 945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5509" h="945508">
                    <a:moveTo>
                      <a:pt x="467559" y="851997"/>
                    </a:moveTo>
                    <a:cubicBezTo>
                      <a:pt x="592242" y="976680"/>
                      <a:pt x="800046" y="976680"/>
                      <a:pt x="924729" y="851997"/>
                    </a:cubicBezTo>
                    <a:cubicBezTo>
                      <a:pt x="952436" y="824290"/>
                      <a:pt x="952436" y="782729"/>
                      <a:pt x="924729" y="755022"/>
                    </a:cubicBezTo>
                    <a:lnTo>
                      <a:pt x="190487" y="20780"/>
                    </a:lnTo>
                    <a:cubicBezTo>
                      <a:pt x="162780" y="-6927"/>
                      <a:pt x="121219" y="-6927"/>
                      <a:pt x="93512" y="20780"/>
                    </a:cubicBezTo>
                    <a:cubicBezTo>
                      <a:pt x="-31171" y="145463"/>
                      <a:pt x="-31171" y="353267"/>
                      <a:pt x="93512" y="477950"/>
                    </a:cubicBezTo>
                    <a:lnTo>
                      <a:pt x="467559" y="851997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CEEA3951-FF89-47FB-9A85-170E6B95FD2E}"/>
                  </a:ext>
                </a:extLst>
              </p:cNvPr>
              <p:cNvSpPr/>
              <p:nvPr/>
            </p:nvSpPr>
            <p:spPr>
              <a:xfrm>
                <a:off x="3174295" y="2172610"/>
                <a:ext cx="1820910" cy="1857293"/>
              </a:xfrm>
              <a:custGeom>
                <a:avLst/>
                <a:gdLst>
                  <a:gd name="connsiteX0" fmla="*/ 1586239 w 1820910"/>
                  <a:gd name="connsiteY0" fmla="*/ 1836513 h 1857293"/>
                  <a:gd name="connsiteX1" fmla="*/ 1683214 w 1820910"/>
                  <a:gd name="connsiteY1" fmla="*/ 1836513 h 1857293"/>
                  <a:gd name="connsiteX2" fmla="*/ 1752482 w 1820910"/>
                  <a:gd name="connsiteY2" fmla="*/ 1774172 h 1857293"/>
                  <a:gd name="connsiteX3" fmla="*/ 1759409 w 1820910"/>
                  <a:gd name="connsiteY3" fmla="*/ 1476319 h 1857293"/>
                  <a:gd name="connsiteX4" fmla="*/ 360194 w 1820910"/>
                  <a:gd name="connsiteY4" fmla="*/ 42470 h 1857293"/>
                  <a:gd name="connsiteX5" fmla="*/ 166243 w 1820910"/>
                  <a:gd name="connsiteY5" fmla="*/ 35543 h 1857293"/>
                  <a:gd name="connsiteX6" fmla="*/ 20781 w 1820910"/>
                  <a:gd name="connsiteY6" fmla="*/ 167153 h 1857293"/>
                  <a:gd name="connsiteX7" fmla="*/ 20781 w 1820910"/>
                  <a:gd name="connsiteY7" fmla="*/ 264128 h 1857293"/>
                  <a:gd name="connsiteX8" fmla="*/ 103902 w 1820910"/>
                  <a:gd name="connsiteY8" fmla="*/ 347250 h 1857293"/>
                  <a:gd name="connsiteX9" fmla="*/ 1489264 w 1820910"/>
                  <a:gd name="connsiteY9" fmla="*/ 1732611 h 1857293"/>
                  <a:gd name="connsiteX10" fmla="*/ 1586239 w 1820910"/>
                  <a:gd name="connsiteY10" fmla="*/ 1836513 h 1857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0910" h="1857293">
                    <a:moveTo>
                      <a:pt x="1586239" y="1836513"/>
                    </a:moveTo>
                    <a:cubicBezTo>
                      <a:pt x="1613946" y="1864220"/>
                      <a:pt x="1655507" y="1864220"/>
                      <a:pt x="1683214" y="1836513"/>
                    </a:cubicBezTo>
                    <a:lnTo>
                      <a:pt x="1752482" y="1774172"/>
                    </a:lnTo>
                    <a:cubicBezTo>
                      <a:pt x="1842531" y="1697977"/>
                      <a:pt x="1842531" y="1559441"/>
                      <a:pt x="1759409" y="1476319"/>
                    </a:cubicBezTo>
                    <a:lnTo>
                      <a:pt x="360194" y="42470"/>
                    </a:lnTo>
                    <a:cubicBezTo>
                      <a:pt x="304780" y="-12944"/>
                      <a:pt x="221658" y="-12944"/>
                      <a:pt x="166243" y="35543"/>
                    </a:cubicBezTo>
                    <a:lnTo>
                      <a:pt x="20781" y="167153"/>
                    </a:lnTo>
                    <a:cubicBezTo>
                      <a:pt x="-6927" y="194860"/>
                      <a:pt x="-6927" y="236421"/>
                      <a:pt x="20781" y="264128"/>
                    </a:cubicBezTo>
                    <a:lnTo>
                      <a:pt x="103902" y="347250"/>
                    </a:lnTo>
                    <a:lnTo>
                      <a:pt x="1489264" y="1732611"/>
                    </a:lnTo>
                    <a:lnTo>
                      <a:pt x="1586239" y="1836513"/>
                    </a:lnTo>
                    <a:close/>
                  </a:path>
                </a:pathLst>
              </a:custGeom>
              <a:solidFill>
                <a:schemeClr val="accent2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47" name="组合 46">
              <a:extLst>
                <a:ext uri="{FF2B5EF4-FFF2-40B4-BE49-F238E27FC236}">
                  <a16:creationId xmlns:a16="http://schemas.microsoft.com/office/drawing/2014/main" id="{7F37F6F9-7EEF-4C51-AACE-3F20F26E22D2}"/>
                </a:ext>
              </a:extLst>
            </p:cNvPr>
            <p:cNvGrpSpPr/>
            <p:nvPr/>
          </p:nvGrpSpPr>
          <p:grpSpPr>
            <a:xfrm rot="938189">
              <a:off x="1273442" y="1794427"/>
              <a:ext cx="4037688" cy="3885225"/>
              <a:chOff x="1276350" y="1772477"/>
              <a:chExt cx="4037688" cy="3885225"/>
            </a:xfrm>
            <a:solidFill>
              <a:srgbClr val="322153"/>
            </a:solidFill>
          </p:grpSpPr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C2AF9724-AC00-42B1-98F5-A8D04010D450}"/>
                  </a:ext>
                </a:extLst>
              </p:cNvPr>
              <p:cNvSpPr/>
              <p:nvPr/>
            </p:nvSpPr>
            <p:spPr>
              <a:xfrm rot="20858260">
                <a:off x="4603455" y="2110744"/>
                <a:ext cx="429463" cy="429463"/>
              </a:xfrm>
              <a:custGeom>
                <a:avLst/>
                <a:gdLst>
                  <a:gd name="connsiteX0" fmla="*/ 311706 w 429462"/>
                  <a:gd name="connsiteY0" fmla="*/ 20780 h 429462"/>
                  <a:gd name="connsiteX1" fmla="*/ 20781 w 429462"/>
                  <a:gd name="connsiteY1" fmla="*/ 311706 h 429462"/>
                  <a:gd name="connsiteX2" fmla="*/ 20781 w 429462"/>
                  <a:gd name="connsiteY2" fmla="*/ 408682 h 429462"/>
                  <a:gd name="connsiteX3" fmla="*/ 69268 w 429462"/>
                  <a:gd name="connsiteY3" fmla="*/ 429462 h 429462"/>
                  <a:gd name="connsiteX4" fmla="*/ 117756 w 429462"/>
                  <a:gd name="connsiteY4" fmla="*/ 408682 h 429462"/>
                  <a:gd name="connsiteX5" fmla="*/ 408682 w 429462"/>
                  <a:gd name="connsiteY5" fmla="*/ 117756 h 429462"/>
                  <a:gd name="connsiteX6" fmla="*/ 408682 w 429462"/>
                  <a:gd name="connsiteY6" fmla="*/ 20780 h 429462"/>
                  <a:gd name="connsiteX7" fmla="*/ 311706 w 429462"/>
                  <a:gd name="connsiteY7" fmla="*/ 2078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9462" h="429462">
                    <a:moveTo>
                      <a:pt x="311706" y="20780"/>
                    </a:moveTo>
                    <a:lnTo>
                      <a:pt x="20781" y="311706"/>
                    </a:lnTo>
                    <a:cubicBezTo>
                      <a:pt x="-6927" y="339414"/>
                      <a:pt x="-6927" y="380974"/>
                      <a:pt x="20781" y="408682"/>
                    </a:cubicBezTo>
                    <a:cubicBezTo>
                      <a:pt x="34634" y="422535"/>
                      <a:pt x="55415" y="429462"/>
                      <a:pt x="69268" y="429462"/>
                    </a:cubicBezTo>
                    <a:cubicBezTo>
                      <a:pt x="83122" y="429462"/>
                      <a:pt x="103902" y="422535"/>
                      <a:pt x="117756" y="408682"/>
                    </a:cubicBezTo>
                    <a:lnTo>
                      <a:pt x="408682" y="117756"/>
                    </a:lnTo>
                    <a:cubicBezTo>
                      <a:pt x="436389" y="90048"/>
                      <a:pt x="436389" y="48488"/>
                      <a:pt x="408682" y="20780"/>
                    </a:cubicBezTo>
                    <a:cubicBezTo>
                      <a:pt x="380974" y="-6927"/>
                      <a:pt x="332487" y="-6927"/>
                      <a:pt x="311706" y="2078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18E7C8EE-DF42-4AB5-9A0A-51758B784E29}"/>
                  </a:ext>
                </a:extLst>
              </p:cNvPr>
              <p:cNvSpPr/>
              <p:nvPr/>
            </p:nvSpPr>
            <p:spPr>
              <a:xfrm rot="20329061">
                <a:off x="4374356" y="1772477"/>
                <a:ext cx="267161" cy="414116"/>
              </a:xfrm>
              <a:custGeom>
                <a:avLst/>
                <a:gdLst>
                  <a:gd name="connsiteX0" fmla="*/ 60849 w 267161"/>
                  <a:gd name="connsiteY0" fmla="*/ 414116 h 414116"/>
                  <a:gd name="connsiteX1" fmla="*/ 123191 w 267161"/>
                  <a:gd name="connsiteY1" fmla="*/ 372556 h 414116"/>
                  <a:gd name="connsiteX2" fmla="*/ 261727 w 267161"/>
                  <a:gd name="connsiteY2" fmla="*/ 95483 h 414116"/>
                  <a:gd name="connsiteX3" fmla="*/ 234019 w 267161"/>
                  <a:gd name="connsiteY3" fmla="*/ 5435 h 414116"/>
                  <a:gd name="connsiteX4" fmla="*/ 143971 w 267161"/>
                  <a:gd name="connsiteY4" fmla="*/ 33142 h 414116"/>
                  <a:gd name="connsiteX5" fmla="*/ 5435 w 267161"/>
                  <a:gd name="connsiteY5" fmla="*/ 310214 h 414116"/>
                  <a:gd name="connsiteX6" fmla="*/ 33142 w 267161"/>
                  <a:gd name="connsiteY6" fmla="*/ 400263 h 414116"/>
                  <a:gd name="connsiteX7" fmla="*/ 60849 w 267161"/>
                  <a:gd name="connsiteY7" fmla="*/ 414116 h 41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7161" h="414116">
                    <a:moveTo>
                      <a:pt x="60849" y="414116"/>
                    </a:moveTo>
                    <a:cubicBezTo>
                      <a:pt x="88557" y="414116"/>
                      <a:pt x="109337" y="400263"/>
                      <a:pt x="123191" y="372556"/>
                    </a:cubicBezTo>
                    <a:lnTo>
                      <a:pt x="261727" y="95483"/>
                    </a:lnTo>
                    <a:cubicBezTo>
                      <a:pt x="275580" y="60849"/>
                      <a:pt x="261727" y="19288"/>
                      <a:pt x="234019" y="5435"/>
                    </a:cubicBezTo>
                    <a:cubicBezTo>
                      <a:pt x="199385" y="-8419"/>
                      <a:pt x="157825" y="5435"/>
                      <a:pt x="143971" y="33142"/>
                    </a:cubicBezTo>
                    <a:lnTo>
                      <a:pt x="5435" y="310214"/>
                    </a:lnTo>
                    <a:cubicBezTo>
                      <a:pt x="-8419" y="344848"/>
                      <a:pt x="5435" y="386409"/>
                      <a:pt x="33142" y="400263"/>
                    </a:cubicBezTo>
                    <a:cubicBezTo>
                      <a:pt x="40069" y="414116"/>
                      <a:pt x="46996" y="414116"/>
                      <a:pt x="60849" y="41411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FE01DD8D-28B6-43A9-829A-8D8E172B546F}"/>
                  </a:ext>
                </a:extLst>
              </p:cNvPr>
              <p:cNvSpPr/>
              <p:nvPr/>
            </p:nvSpPr>
            <p:spPr>
              <a:xfrm rot="1349930">
                <a:off x="4899683" y="2635497"/>
                <a:ext cx="414355" cy="275454"/>
              </a:xfrm>
              <a:custGeom>
                <a:avLst/>
                <a:gdLst>
                  <a:gd name="connsiteX0" fmla="*/ 314543 w 414355"/>
                  <a:gd name="connsiteY0" fmla="*/ 5309 h 275454"/>
                  <a:gd name="connsiteX1" fmla="*/ 37471 w 414355"/>
                  <a:gd name="connsiteY1" fmla="*/ 143845 h 275454"/>
                  <a:gd name="connsiteX2" fmla="*/ 9764 w 414355"/>
                  <a:gd name="connsiteY2" fmla="*/ 233893 h 275454"/>
                  <a:gd name="connsiteX3" fmla="*/ 72105 w 414355"/>
                  <a:gd name="connsiteY3" fmla="*/ 275454 h 275454"/>
                  <a:gd name="connsiteX4" fmla="*/ 99812 w 414355"/>
                  <a:gd name="connsiteY4" fmla="*/ 268527 h 275454"/>
                  <a:gd name="connsiteX5" fmla="*/ 376885 w 414355"/>
                  <a:gd name="connsiteY5" fmla="*/ 129991 h 275454"/>
                  <a:gd name="connsiteX6" fmla="*/ 404592 w 414355"/>
                  <a:gd name="connsiteY6" fmla="*/ 39943 h 275454"/>
                  <a:gd name="connsiteX7" fmla="*/ 314543 w 414355"/>
                  <a:gd name="connsiteY7" fmla="*/ 5309 h 27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355" h="275454">
                    <a:moveTo>
                      <a:pt x="314543" y="5309"/>
                    </a:moveTo>
                    <a:lnTo>
                      <a:pt x="37471" y="143845"/>
                    </a:lnTo>
                    <a:cubicBezTo>
                      <a:pt x="2837" y="157699"/>
                      <a:pt x="-11017" y="199259"/>
                      <a:pt x="9764" y="233893"/>
                    </a:cubicBezTo>
                    <a:cubicBezTo>
                      <a:pt x="23617" y="261601"/>
                      <a:pt x="44398" y="275454"/>
                      <a:pt x="72105" y="275454"/>
                    </a:cubicBezTo>
                    <a:cubicBezTo>
                      <a:pt x="85959" y="275454"/>
                      <a:pt x="92885" y="275454"/>
                      <a:pt x="99812" y="268527"/>
                    </a:cubicBezTo>
                    <a:lnTo>
                      <a:pt x="376885" y="129991"/>
                    </a:lnTo>
                    <a:cubicBezTo>
                      <a:pt x="411519" y="116138"/>
                      <a:pt x="425372" y="74577"/>
                      <a:pt x="404592" y="39943"/>
                    </a:cubicBezTo>
                    <a:cubicBezTo>
                      <a:pt x="383811" y="5309"/>
                      <a:pt x="349177" y="-8545"/>
                      <a:pt x="314543" y="530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902E5E03-D063-4D58-87C0-6CD4152B161F}"/>
                  </a:ext>
                </a:extLst>
              </p:cNvPr>
              <p:cNvSpPr/>
              <p:nvPr/>
            </p:nvSpPr>
            <p:spPr>
              <a:xfrm>
                <a:off x="1276350" y="1829748"/>
                <a:ext cx="3795890" cy="3827954"/>
              </a:xfrm>
              <a:custGeom>
                <a:avLst/>
                <a:gdLst>
                  <a:gd name="connsiteX0" fmla="*/ 2015701 w 3795890"/>
                  <a:gd name="connsiteY0" fmla="*/ 59772 h 3827954"/>
                  <a:gd name="connsiteX1" fmla="*/ 1870238 w 3795890"/>
                  <a:gd name="connsiteY1" fmla="*/ 191381 h 3827954"/>
                  <a:gd name="connsiteX2" fmla="*/ 1828677 w 3795890"/>
                  <a:gd name="connsiteY2" fmla="*/ 288357 h 3827954"/>
                  <a:gd name="connsiteX3" fmla="*/ 1870238 w 3795890"/>
                  <a:gd name="connsiteY3" fmla="*/ 385332 h 3827954"/>
                  <a:gd name="connsiteX4" fmla="*/ 1911799 w 3795890"/>
                  <a:gd name="connsiteY4" fmla="*/ 426893 h 3827954"/>
                  <a:gd name="connsiteX5" fmla="*/ 325560 w 3795890"/>
                  <a:gd name="connsiteY5" fmla="*/ 2795861 h 3827954"/>
                  <a:gd name="connsiteX6" fmla="*/ 304780 w 3795890"/>
                  <a:gd name="connsiteY6" fmla="*/ 2782007 h 3827954"/>
                  <a:gd name="connsiteX7" fmla="*/ 207804 w 3795890"/>
                  <a:gd name="connsiteY7" fmla="*/ 2740446 h 3827954"/>
                  <a:gd name="connsiteX8" fmla="*/ 207804 w 3795890"/>
                  <a:gd name="connsiteY8" fmla="*/ 2740446 h 3827954"/>
                  <a:gd name="connsiteX9" fmla="*/ 110829 w 3795890"/>
                  <a:gd name="connsiteY9" fmla="*/ 2782007 h 3827954"/>
                  <a:gd name="connsiteX10" fmla="*/ 0 w 3795890"/>
                  <a:gd name="connsiteY10" fmla="*/ 3059079 h 3827954"/>
                  <a:gd name="connsiteX11" fmla="*/ 117756 w 3795890"/>
                  <a:gd name="connsiteY11" fmla="*/ 3336152 h 3827954"/>
                  <a:gd name="connsiteX12" fmla="*/ 491803 w 3795890"/>
                  <a:gd name="connsiteY12" fmla="*/ 3710199 h 3827954"/>
                  <a:gd name="connsiteX13" fmla="*/ 768876 w 3795890"/>
                  <a:gd name="connsiteY13" fmla="*/ 3827955 h 3827954"/>
                  <a:gd name="connsiteX14" fmla="*/ 1045948 w 3795890"/>
                  <a:gd name="connsiteY14" fmla="*/ 3710199 h 3827954"/>
                  <a:gd name="connsiteX15" fmla="*/ 1045948 w 3795890"/>
                  <a:gd name="connsiteY15" fmla="*/ 3516249 h 3827954"/>
                  <a:gd name="connsiteX16" fmla="*/ 1011314 w 3795890"/>
                  <a:gd name="connsiteY16" fmla="*/ 3481615 h 3827954"/>
                  <a:gd name="connsiteX17" fmla="*/ 1246825 w 3795890"/>
                  <a:gd name="connsiteY17" fmla="*/ 3329225 h 3827954"/>
                  <a:gd name="connsiteX18" fmla="*/ 1329947 w 3795890"/>
                  <a:gd name="connsiteY18" fmla="*/ 3460834 h 3827954"/>
                  <a:gd name="connsiteX19" fmla="*/ 1738629 w 3795890"/>
                  <a:gd name="connsiteY19" fmla="*/ 3682492 h 3827954"/>
                  <a:gd name="connsiteX20" fmla="*/ 2001847 w 3795890"/>
                  <a:gd name="connsiteY20" fmla="*/ 3606297 h 3827954"/>
                  <a:gd name="connsiteX21" fmla="*/ 2147310 w 3795890"/>
                  <a:gd name="connsiteY21" fmla="*/ 2934397 h 3827954"/>
                  <a:gd name="connsiteX22" fmla="*/ 2057262 w 3795890"/>
                  <a:gd name="connsiteY22" fmla="*/ 2788934 h 3827954"/>
                  <a:gd name="connsiteX23" fmla="*/ 3394136 w 3795890"/>
                  <a:gd name="connsiteY23" fmla="*/ 1902303 h 3827954"/>
                  <a:gd name="connsiteX24" fmla="*/ 3449550 w 3795890"/>
                  <a:gd name="connsiteY24" fmla="*/ 1957717 h 3827954"/>
                  <a:gd name="connsiteX25" fmla="*/ 3636574 w 3795890"/>
                  <a:gd name="connsiteY25" fmla="*/ 1957717 h 3827954"/>
                  <a:gd name="connsiteX26" fmla="*/ 3705842 w 3795890"/>
                  <a:gd name="connsiteY26" fmla="*/ 1895376 h 3827954"/>
                  <a:gd name="connsiteX27" fmla="*/ 3795890 w 3795890"/>
                  <a:gd name="connsiteY27" fmla="*/ 1701425 h 3827954"/>
                  <a:gd name="connsiteX28" fmla="*/ 3719696 w 3795890"/>
                  <a:gd name="connsiteY28" fmla="*/ 1500548 h 3827954"/>
                  <a:gd name="connsiteX29" fmla="*/ 2306627 w 3795890"/>
                  <a:gd name="connsiteY29" fmla="*/ 59772 h 3827954"/>
                  <a:gd name="connsiteX30" fmla="*/ 2015701 w 3795890"/>
                  <a:gd name="connsiteY30" fmla="*/ 59772 h 3827954"/>
                  <a:gd name="connsiteX31" fmla="*/ 581852 w 3795890"/>
                  <a:gd name="connsiteY31" fmla="*/ 3613224 h 3827954"/>
                  <a:gd name="connsiteX32" fmla="*/ 207804 w 3795890"/>
                  <a:gd name="connsiteY32" fmla="*/ 3239176 h 3827954"/>
                  <a:gd name="connsiteX33" fmla="*/ 138536 w 3795890"/>
                  <a:gd name="connsiteY33" fmla="*/ 3059079 h 3827954"/>
                  <a:gd name="connsiteX34" fmla="*/ 214731 w 3795890"/>
                  <a:gd name="connsiteY34" fmla="*/ 2878982 h 3827954"/>
                  <a:gd name="connsiteX35" fmla="*/ 942046 w 3795890"/>
                  <a:gd name="connsiteY35" fmla="*/ 3613224 h 3827954"/>
                  <a:gd name="connsiteX36" fmla="*/ 581852 w 3795890"/>
                  <a:gd name="connsiteY36" fmla="*/ 3613224 h 3827954"/>
                  <a:gd name="connsiteX37" fmla="*/ 2022628 w 3795890"/>
                  <a:gd name="connsiteY37" fmla="*/ 3010592 h 3827954"/>
                  <a:gd name="connsiteX38" fmla="*/ 1918726 w 3795890"/>
                  <a:gd name="connsiteY38" fmla="*/ 3488541 h 3827954"/>
                  <a:gd name="connsiteX39" fmla="*/ 1440776 w 3795890"/>
                  <a:gd name="connsiteY39" fmla="*/ 3384639 h 3827954"/>
                  <a:gd name="connsiteX40" fmla="*/ 1357654 w 3795890"/>
                  <a:gd name="connsiteY40" fmla="*/ 3253030 h 3827954"/>
                  <a:gd name="connsiteX41" fmla="*/ 1932579 w 3795890"/>
                  <a:gd name="connsiteY41" fmla="*/ 2872056 h 3827954"/>
                  <a:gd name="connsiteX42" fmla="*/ 2022628 w 3795890"/>
                  <a:gd name="connsiteY42" fmla="*/ 3010592 h 3827954"/>
                  <a:gd name="connsiteX43" fmla="*/ 3643501 w 3795890"/>
                  <a:gd name="connsiteY43" fmla="*/ 1694498 h 3827954"/>
                  <a:gd name="connsiteX44" fmla="*/ 3595013 w 3795890"/>
                  <a:gd name="connsiteY44" fmla="*/ 1791474 h 3827954"/>
                  <a:gd name="connsiteX45" fmla="*/ 3525745 w 3795890"/>
                  <a:gd name="connsiteY45" fmla="*/ 1853815 h 3827954"/>
                  <a:gd name="connsiteX46" fmla="*/ 3428770 w 3795890"/>
                  <a:gd name="connsiteY46" fmla="*/ 1763766 h 3827954"/>
                  <a:gd name="connsiteX47" fmla="*/ 3338721 w 3795890"/>
                  <a:gd name="connsiteY47" fmla="*/ 1756840 h 3827954"/>
                  <a:gd name="connsiteX48" fmla="*/ 1911799 w 3795890"/>
                  <a:gd name="connsiteY48" fmla="*/ 2712739 h 3827954"/>
                  <a:gd name="connsiteX49" fmla="*/ 1911799 w 3795890"/>
                  <a:gd name="connsiteY49" fmla="*/ 2712739 h 3827954"/>
                  <a:gd name="connsiteX50" fmla="*/ 1911799 w 3795890"/>
                  <a:gd name="connsiteY50" fmla="*/ 2712739 h 3827954"/>
                  <a:gd name="connsiteX51" fmla="*/ 1219118 w 3795890"/>
                  <a:gd name="connsiteY51" fmla="*/ 3169908 h 3827954"/>
                  <a:gd name="connsiteX52" fmla="*/ 1219118 w 3795890"/>
                  <a:gd name="connsiteY52" fmla="*/ 3169908 h 3827954"/>
                  <a:gd name="connsiteX53" fmla="*/ 1219118 w 3795890"/>
                  <a:gd name="connsiteY53" fmla="*/ 3169908 h 3827954"/>
                  <a:gd name="connsiteX54" fmla="*/ 907412 w 3795890"/>
                  <a:gd name="connsiteY54" fmla="*/ 3377713 h 3827954"/>
                  <a:gd name="connsiteX55" fmla="*/ 422535 w 3795890"/>
                  <a:gd name="connsiteY55" fmla="*/ 2892836 h 3827954"/>
                  <a:gd name="connsiteX56" fmla="*/ 2008774 w 3795890"/>
                  <a:gd name="connsiteY56" fmla="*/ 530795 h 3827954"/>
                  <a:gd name="connsiteX57" fmla="*/ 3089356 w 3795890"/>
                  <a:gd name="connsiteY57" fmla="*/ 1611377 h 3827954"/>
                  <a:gd name="connsiteX58" fmla="*/ 3186331 w 3795890"/>
                  <a:gd name="connsiteY58" fmla="*/ 1611377 h 3827954"/>
                  <a:gd name="connsiteX59" fmla="*/ 3186331 w 3795890"/>
                  <a:gd name="connsiteY59" fmla="*/ 1514401 h 3827954"/>
                  <a:gd name="connsiteX60" fmla="*/ 2057262 w 3795890"/>
                  <a:gd name="connsiteY60" fmla="*/ 378405 h 3827954"/>
                  <a:gd name="connsiteX61" fmla="*/ 2057262 w 3795890"/>
                  <a:gd name="connsiteY61" fmla="*/ 378405 h 3827954"/>
                  <a:gd name="connsiteX62" fmla="*/ 1974140 w 3795890"/>
                  <a:gd name="connsiteY62" fmla="*/ 295283 h 3827954"/>
                  <a:gd name="connsiteX63" fmla="*/ 2119603 w 3795890"/>
                  <a:gd name="connsiteY63" fmla="*/ 163674 h 3827954"/>
                  <a:gd name="connsiteX64" fmla="*/ 2216578 w 3795890"/>
                  <a:gd name="connsiteY64" fmla="*/ 163674 h 3827954"/>
                  <a:gd name="connsiteX65" fmla="*/ 3615794 w 3795890"/>
                  <a:gd name="connsiteY65" fmla="*/ 1597523 h 3827954"/>
                  <a:gd name="connsiteX66" fmla="*/ 3643501 w 3795890"/>
                  <a:gd name="connsiteY66" fmla="*/ 1694498 h 382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795890" h="3827954">
                    <a:moveTo>
                      <a:pt x="2015701" y="59772"/>
                    </a:moveTo>
                    <a:lnTo>
                      <a:pt x="1870238" y="191381"/>
                    </a:lnTo>
                    <a:cubicBezTo>
                      <a:pt x="1849458" y="219088"/>
                      <a:pt x="1828677" y="253723"/>
                      <a:pt x="1828677" y="288357"/>
                    </a:cubicBezTo>
                    <a:cubicBezTo>
                      <a:pt x="1828677" y="322991"/>
                      <a:pt x="1842531" y="364551"/>
                      <a:pt x="1870238" y="385332"/>
                    </a:cubicBezTo>
                    <a:lnTo>
                      <a:pt x="1911799" y="426893"/>
                    </a:lnTo>
                    <a:lnTo>
                      <a:pt x="325560" y="2795861"/>
                    </a:lnTo>
                    <a:lnTo>
                      <a:pt x="304780" y="2782007"/>
                    </a:lnTo>
                    <a:cubicBezTo>
                      <a:pt x="277072" y="2754300"/>
                      <a:pt x="242438" y="2740446"/>
                      <a:pt x="207804" y="2740446"/>
                    </a:cubicBezTo>
                    <a:lnTo>
                      <a:pt x="207804" y="2740446"/>
                    </a:lnTo>
                    <a:cubicBezTo>
                      <a:pt x="173170" y="2740446"/>
                      <a:pt x="138536" y="2754300"/>
                      <a:pt x="110829" y="2782007"/>
                    </a:cubicBezTo>
                    <a:cubicBezTo>
                      <a:pt x="41561" y="2851275"/>
                      <a:pt x="0" y="2955177"/>
                      <a:pt x="0" y="3059079"/>
                    </a:cubicBezTo>
                    <a:cubicBezTo>
                      <a:pt x="0" y="3162981"/>
                      <a:pt x="41561" y="3259957"/>
                      <a:pt x="117756" y="3336152"/>
                    </a:cubicBezTo>
                    <a:lnTo>
                      <a:pt x="491803" y="3710199"/>
                    </a:lnTo>
                    <a:cubicBezTo>
                      <a:pt x="567998" y="3786394"/>
                      <a:pt x="664974" y="3827955"/>
                      <a:pt x="768876" y="3827955"/>
                    </a:cubicBezTo>
                    <a:cubicBezTo>
                      <a:pt x="872778" y="3827955"/>
                      <a:pt x="969753" y="3786394"/>
                      <a:pt x="1045948" y="3710199"/>
                    </a:cubicBezTo>
                    <a:cubicBezTo>
                      <a:pt x="1101362" y="3654785"/>
                      <a:pt x="1101362" y="3571663"/>
                      <a:pt x="1045948" y="3516249"/>
                    </a:cubicBezTo>
                    <a:lnTo>
                      <a:pt x="1011314" y="3481615"/>
                    </a:lnTo>
                    <a:lnTo>
                      <a:pt x="1246825" y="3329225"/>
                    </a:lnTo>
                    <a:lnTo>
                      <a:pt x="1329947" y="3460834"/>
                    </a:lnTo>
                    <a:cubicBezTo>
                      <a:pt x="1419996" y="3606297"/>
                      <a:pt x="1579312" y="3682492"/>
                      <a:pt x="1738629" y="3682492"/>
                    </a:cubicBezTo>
                    <a:cubicBezTo>
                      <a:pt x="1828677" y="3682492"/>
                      <a:pt x="1918726" y="3654785"/>
                      <a:pt x="2001847" y="3606297"/>
                    </a:cubicBezTo>
                    <a:cubicBezTo>
                      <a:pt x="2223505" y="3460834"/>
                      <a:pt x="2292773" y="3162981"/>
                      <a:pt x="2147310" y="2934397"/>
                    </a:cubicBezTo>
                    <a:lnTo>
                      <a:pt x="2057262" y="2788934"/>
                    </a:lnTo>
                    <a:lnTo>
                      <a:pt x="3394136" y="1902303"/>
                    </a:lnTo>
                    <a:lnTo>
                      <a:pt x="3449550" y="1957717"/>
                    </a:lnTo>
                    <a:cubicBezTo>
                      <a:pt x="3504964" y="2006205"/>
                      <a:pt x="3588086" y="2013131"/>
                      <a:pt x="3636574" y="1957717"/>
                    </a:cubicBezTo>
                    <a:lnTo>
                      <a:pt x="3705842" y="1895376"/>
                    </a:lnTo>
                    <a:cubicBezTo>
                      <a:pt x="3761256" y="1846888"/>
                      <a:pt x="3795890" y="1777620"/>
                      <a:pt x="3795890" y="1701425"/>
                    </a:cubicBezTo>
                    <a:cubicBezTo>
                      <a:pt x="3795890" y="1625230"/>
                      <a:pt x="3768183" y="1555962"/>
                      <a:pt x="3719696" y="1500548"/>
                    </a:cubicBezTo>
                    <a:lnTo>
                      <a:pt x="2306627" y="59772"/>
                    </a:lnTo>
                    <a:cubicBezTo>
                      <a:pt x="2230432" y="-16423"/>
                      <a:pt x="2098823" y="-23350"/>
                      <a:pt x="2015701" y="59772"/>
                    </a:cubicBezTo>
                    <a:close/>
                    <a:moveTo>
                      <a:pt x="581852" y="3613224"/>
                    </a:moveTo>
                    <a:lnTo>
                      <a:pt x="207804" y="3239176"/>
                    </a:lnTo>
                    <a:cubicBezTo>
                      <a:pt x="159317" y="3190689"/>
                      <a:pt x="138536" y="3128347"/>
                      <a:pt x="138536" y="3059079"/>
                    </a:cubicBezTo>
                    <a:cubicBezTo>
                      <a:pt x="138536" y="2989811"/>
                      <a:pt x="166243" y="2927470"/>
                      <a:pt x="214731" y="2878982"/>
                    </a:cubicBezTo>
                    <a:lnTo>
                      <a:pt x="942046" y="3613224"/>
                    </a:lnTo>
                    <a:cubicBezTo>
                      <a:pt x="845070" y="3710199"/>
                      <a:pt x="685754" y="3710199"/>
                      <a:pt x="581852" y="3613224"/>
                    </a:cubicBezTo>
                    <a:close/>
                    <a:moveTo>
                      <a:pt x="2022628" y="3010592"/>
                    </a:moveTo>
                    <a:cubicBezTo>
                      <a:pt x="2126530" y="3169908"/>
                      <a:pt x="2078042" y="3384639"/>
                      <a:pt x="1918726" y="3488541"/>
                    </a:cubicBezTo>
                    <a:cubicBezTo>
                      <a:pt x="1759409" y="3592443"/>
                      <a:pt x="1544678" y="3543956"/>
                      <a:pt x="1440776" y="3384639"/>
                    </a:cubicBezTo>
                    <a:lnTo>
                      <a:pt x="1357654" y="3253030"/>
                    </a:lnTo>
                    <a:lnTo>
                      <a:pt x="1932579" y="2872056"/>
                    </a:lnTo>
                    <a:lnTo>
                      <a:pt x="2022628" y="3010592"/>
                    </a:lnTo>
                    <a:close/>
                    <a:moveTo>
                      <a:pt x="3643501" y="1694498"/>
                    </a:moveTo>
                    <a:cubicBezTo>
                      <a:pt x="3643501" y="1729132"/>
                      <a:pt x="3622720" y="1770693"/>
                      <a:pt x="3595013" y="1791474"/>
                    </a:cubicBezTo>
                    <a:lnTo>
                      <a:pt x="3525745" y="1853815"/>
                    </a:lnTo>
                    <a:lnTo>
                      <a:pt x="3428770" y="1763766"/>
                    </a:lnTo>
                    <a:cubicBezTo>
                      <a:pt x="3407989" y="1742986"/>
                      <a:pt x="3366428" y="1736059"/>
                      <a:pt x="3338721" y="1756840"/>
                    </a:cubicBez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911799" y="2712739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1219118" y="3169908"/>
                    </a:lnTo>
                    <a:lnTo>
                      <a:pt x="907412" y="3377713"/>
                    </a:lnTo>
                    <a:lnTo>
                      <a:pt x="422535" y="2892836"/>
                    </a:lnTo>
                    <a:lnTo>
                      <a:pt x="2008774" y="530795"/>
                    </a:lnTo>
                    <a:lnTo>
                      <a:pt x="3089356" y="1611377"/>
                    </a:lnTo>
                    <a:cubicBezTo>
                      <a:pt x="3117063" y="1639084"/>
                      <a:pt x="3158624" y="1639084"/>
                      <a:pt x="3186331" y="1611377"/>
                    </a:cubicBezTo>
                    <a:cubicBezTo>
                      <a:pt x="3214039" y="1583669"/>
                      <a:pt x="3214039" y="1542109"/>
                      <a:pt x="3186331" y="1514401"/>
                    </a:cubicBezTo>
                    <a:lnTo>
                      <a:pt x="2057262" y="378405"/>
                    </a:lnTo>
                    <a:lnTo>
                      <a:pt x="2057262" y="378405"/>
                    </a:lnTo>
                    <a:lnTo>
                      <a:pt x="1974140" y="295283"/>
                    </a:lnTo>
                    <a:lnTo>
                      <a:pt x="2119603" y="163674"/>
                    </a:lnTo>
                    <a:cubicBezTo>
                      <a:pt x="2147310" y="135967"/>
                      <a:pt x="2188871" y="135967"/>
                      <a:pt x="2216578" y="163674"/>
                    </a:cubicBezTo>
                    <a:lnTo>
                      <a:pt x="3615794" y="1597523"/>
                    </a:lnTo>
                    <a:cubicBezTo>
                      <a:pt x="3636574" y="1618303"/>
                      <a:pt x="3650428" y="1659864"/>
                      <a:pt x="3643501" y="169449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906AB3F5-DC4E-4C05-B160-7720255641CD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692680" cy="692680"/>
              </a:xfrm>
              <a:custGeom>
                <a:avLst/>
                <a:gdLst>
                  <a:gd name="connsiteX0" fmla="*/ 574925 w 692680"/>
                  <a:gd name="connsiteY0" fmla="*/ 20780 h 692680"/>
                  <a:gd name="connsiteX1" fmla="*/ 20780 w 692680"/>
                  <a:gd name="connsiteY1" fmla="*/ 574925 h 692680"/>
                  <a:gd name="connsiteX2" fmla="*/ 20780 w 692680"/>
                  <a:gd name="connsiteY2" fmla="*/ 671900 h 692680"/>
                  <a:gd name="connsiteX3" fmla="*/ 69268 w 692680"/>
                  <a:gd name="connsiteY3" fmla="*/ 692681 h 692680"/>
                  <a:gd name="connsiteX4" fmla="*/ 117756 w 692680"/>
                  <a:gd name="connsiteY4" fmla="*/ 671900 h 692680"/>
                  <a:gd name="connsiteX5" fmla="*/ 671900 w 692680"/>
                  <a:gd name="connsiteY5" fmla="*/ 117756 h 692680"/>
                  <a:gd name="connsiteX6" fmla="*/ 671900 w 692680"/>
                  <a:gd name="connsiteY6" fmla="*/ 20780 h 692680"/>
                  <a:gd name="connsiteX7" fmla="*/ 574925 w 692680"/>
                  <a:gd name="connsiteY7" fmla="*/ 20780 h 69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2680" h="692680">
                    <a:moveTo>
                      <a:pt x="574925" y="20780"/>
                    </a:moveTo>
                    <a:lnTo>
                      <a:pt x="20780" y="574925"/>
                    </a:lnTo>
                    <a:cubicBezTo>
                      <a:pt x="-6927" y="602632"/>
                      <a:pt x="-6927" y="644193"/>
                      <a:pt x="20780" y="671900"/>
                    </a:cubicBezTo>
                    <a:cubicBezTo>
                      <a:pt x="34634" y="685754"/>
                      <a:pt x="55414" y="692681"/>
                      <a:pt x="69268" y="692681"/>
                    </a:cubicBezTo>
                    <a:cubicBezTo>
                      <a:pt x="83122" y="692681"/>
                      <a:pt x="103902" y="685754"/>
                      <a:pt x="117756" y="671900"/>
                    </a:cubicBezTo>
                    <a:lnTo>
                      <a:pt x="671900" y="117756"/>
                    </a:lnTo>
                    <a:cubicBezTo>
                      <a:pt x="699607" y="90048"/>
                      <a:pt x="699607" y="48488"/>
                      <a:pt x="671900" y="20780"/>
                    </a:cubicBezTo>
                    <a:cubicBezTo>
                      <a:pt x="644193" y="-6927"/>
                      <a:pt x="602632" y="-6927"/>
                      <a:pt x="574925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1B9DF079-7DED-4895-979B-7928A38A79B3}"/>
                  </a:ext>
                </a:extLst>
              </p:cNvPr>
              <p:cNvSpPr/>
              <p:nvPr/>
            </p:nvSpPr>
            <p:spPr>
              <a:xfrm>
                <a:off x="2800247" y="3434198"/>
                <a:ext cx="415608" cy="415608"/>
              </a:xfrm>
              <a:custGeom>
                <a:avLst/>
                <a:gdLst>
                  <a:gd name="connsiteX0" fmla="*/ 69268 w 415608"/>
                  <a:gd name="connsiteY0" fmla="*/ 415608 h 415608"/>
                  <a:gd name="connsiteX1" fmla="*/ 117756 w 415608"/>
                  <a:gd name="connsiteY1" fmla="*/ 394828 h 415608"/>
                  <a:gd name="connsiteX2" fmla="*/ 394828 w 415608"/>
                  <a:gd name="connsiteY2" fmla="*/ 117756 h 415608"/>
                  <a:gd name="connsiteX3" fmla="*/ 394828 w 415608"/>
                  <a:gd name="connsiteY3" fmla="*/ 20780 h 415608"/>
                  <a:gd name="connsiteX4" fmla="*/ 297853 w 415608"/>
                  <a:gd name="connsiteY4" fmla="*/ 20780 h 415608"/>
                  <a:gd name="connsiteX5" fmla="*/ 20780 w 415608"/>
                  <a:gd name="connsiteY5" fmla="*/ 297853 h 415608"/>
                  <a:gd name="connsiteX6" fmla="*/ 20780 w 415608"/>
                  <a:gd name="connsiteY6" fmla="*/ 394828 h 415608"/>
                  <a:gd name="connsiteX7" fmla="*/ 69268 w 415608"/>
                  <a:gd name="connsiteY7" fmla="*/ 415608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69268" y="415608"/>
                    </a:moveTo>
                    <a:cubicBezTo>
                      <a:pt x="90048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B45C5553-32FE-4F88-8335-89355930C5A3}"/>
                  </a:ext>
                </a:extLst>
              </p:cNvPr>
              <p:cNvSpPr/>
              <p:nvPr/>
            </p:nvSpPr>
            <p:spPr>
              <a:xfrm>
                <a:off x="3077319" y="3711270"/>
                <a:ext cx="415608" cy="415608"/>
              </a:xfrm>
              <a:custGeom>
                <a:avLst/>
                <a:gdLst>
                  <a:gd name="connsiteX0" fmla="*/ 297853 w 415608"/>
                  <a:gd name="connsiteY0" fmla="*/ 20780 h 415608"/>
                  <a:gd name="connsiteX1" fmla="*/ 20780 w 415608"/>
                  <a:gd name="connsiteY1" fmla="*/ 297853 h 415608"/>
                  <a:gd name="connsiteX2" fmla="*/ 20780 w 415608"/>
                  <a:gd name="connsiteY2" fmla="*/ 394828 h 415608"/>
                  <a:gd name="connsiteX3" fmla="*/ 69268 w 415608"/>
                  <a:gd name="connsiteY3" fmla="*/ 415608 h 415608"/>
                  <a:gd name="connsiteX4" fmla="*/ 117756 w 415608"/>
                  <a:gd name="connsiteY4" fmla="*/ 394828 h 415608"/>
                  <a:gd name="connsiteX5" fmla="*/ 394828 w 415608"/>
                  <a:gd name="connsiteY5" fmla="*/ 117756 h 415608"/>
                  <a:gd name="connsiteX6" fmla="*/ 394828 w 415608"/>
                  <a:gd name="connsiteY6" fmla="*/ 20780 h 415608"/>
                  <a:gd name="connsiteX7" fmla="*/ 297853 w 415608"/>
                  <a:gd name="connsiteY7" fmla="*/ 20780 h 415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608" h="415608">
                    <a:moveTo>
                      <a:pt x="297853" y="20780"/>
                    </a:moveTo>
                    <a:lnTo>
                      <a:pt x="20780" y="297853"/>
                    </a:lnTo>
                    <a:cubicBezTo>
                      <a:pt x="-6927" y="325560"/>
                      <a:pt x="-6927" y="367121"/>
                      <a:pt x="20780" y="394828"/>
                    </a:cubicBezTo>
                    <a:cubicBezTo>
                      <a:pt x="34634" y="408682"/>
                      <a:pt x="55414" y="415608"/>
                      <a:pt x="69268" y="415608"/>
                    </a:cubicBezTo>
                    <a:cubicBezTo>
                      <a:pt x="83122" y="415608"/>
                      <a:pt x="103902" y="408682"/>
                      <a:pt x="117756" y="394828"/>
                    </a:cubicBezTo>
                    <a:lnTo>
                      <a:pt x="394828" y="117756"/>
                    </a:lnTo>
                    <a:cubicBezTo>
                      <a:pt x="422535" y="90048"/>
                      <a:pt x="422535" y="48488"/>
                      <a:pt x="394828" y="20780"/>
                    </a:cubicBezTo>
                    <a:cubicBezTo>
                      <a:pt x="367121" y="-6927"/>
                      <a:pt x="325560" y="-6927"/>
                      <a:pt x="297853" y="20780"/>
                    </a:cubicBezTo>
                    <a:close/>
                  </a:path>
                </a:pathLst>
              </a:custGeom>
              <a:solidFill>
                <a:srgbClr val="322153"/>
              </a:solidFill>
              <a:ln w="8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333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0a8c82ef-8565-4c48-83e4-6ac864e953de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73CA5"/>
      </a:accent1>
      <a:accent2>
        <a:srgbClr val="00F2A9"/>
      </a:accent2>
      <a:accent3>
        <a:srgbClr val="312152"/>
      </a:accent3>
      <a:accent4>
        <a:srgbClr val="B3D3F2"/>
      </a:accent4>
      <a:accent5>
        <a:srgbClr val="A5A5A5"/>
      </a:accent5>
      <a:accent6>
        <a:srgbClr val="C9C9C9"/>
      </a:accent6>
      <a:hlink>
        <a:srgbClr val="5C9DFF"/>
      </a:hlink>
      <a:folHlink>
        <a:srgbClr val="BFBFBF"/>
      </a:folHlink>
    </a:clrScheme>
    <a:fontScheme name="d0mr4rns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73CA5"/>
    </a:accent1>
    <a:accent2>
      <a:srgbClr val="00F2A9"/>
    </a:accent2>
    <a:accent3>
      <a:srgbClr val="312152"/>
    </a:accent3>
    <a:accent4>
      <a:srgbClr val="B3D3F2"/>
    </a:accent4>
    <a:accent5>
      <a:srgbClr val="A5A5A5"/>
    </a:accent5>
    <a:accent6>
      <a:srgbClr val="C9C9C9"/>
    </a:accent6>
    <a:hlink>
      <a:srgbClr val="5C9DF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73CA5"/>
    </a:accent1>
    <a:accent2>
      <a:srgbClr val="00F2A9"/>
    </a:accent2>
    <a:accent3>
      <a:srgbClr val="312152"/>
    </a:accent3>
    <a:accent4>
      <a:srgbClr val="B3D3F2"/>
    </a:accent4>
    <a:accent5>
      <a:srgbClr val="A5A5A5"/>
    </a:accent5>
    <a:accent6>
      <a:srgbClr val="C9C9C9"/>
    </a:accent6>
    <a:hlink>
      <a:srgbClr val="5C9DF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73CA5"/>
    </a:accent1>
    <a:accent2>
      <a:srgbClr val="00F2A9"/>
    </a:accent2>
    <a:accent3>
      <a:srgbClr val="312152"/>
    </a:accent3>
    <a:accent4>
      <a:srgbClr val="B3D3F2"/>
    </a:accent4>
    <a:accent5>
      <a:srgbClr val="A5A5A5"/>
    </a:accent5>
    <a:accent6>
      <a:srgbClr val="C9C9C9"/>
    </a:accent6>
    <a:hlink>
      <a:srgbClr val="5C9DFF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</TotalTime>
  <Words>1101</Words>
  <Application>Microsoft Office PowerPoint</Application>
  <PresentationFormat>宽屏</PresentationFormat>
  <Paragraphs>190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3" baseType="lpstr">
      <vt:lpstr>等线</vt:lpstr>
      <vt:lpstr>Arial</vt:lpstr>
      <vt:lpstr>Calibri</vt:lpstr>
      <vt:lpstr>主题5</vt:lpstr>
      <vt:lpstr>think-cell Slide</vt:lpstr>
      <vt:lpstr>疫情防护，大家一起努力！</vt:lpstr>
      <vt:lpstr>PowerPoint 演示文稿</vt:lpstr>
      <vt:lpstr>什么是冠状病毒</vt:lpstr>
      <vt:lpstr>什么是冠状病毒</vt:lpstr>
      <vt:lpstr>什么是冠状病毒2</vt:lpstr>
      <vt:lpstr>感染患者的临床表现</vt:lpstr>
      <vt:lpstr>感染患者的临床表现</vt:lpstr>
      <vt:lpstr>此次疫情的病例特点</vt:lpstr>
      <vt:lpstr>此次疫情的病例特点</vt:lpstr>
      <vt:lpstr>如何预防新型冠状病毒感染</vt:lpstr>
      <vt:lpstr>如何预防新型冠状病毒感染</vt:lpstr>
      <vt:lpstr>如何预防新型冠状病毒感染2</vt:lpstr>
      <vt:lpstr>洗手六步法</vt:lpstr>
      <vt:lpstr>正确佩戴口罩</vt:lpstr>
      <vt:lpstr>避免食源性感染</vt:lpstr>
      <vt:lpstr>身边出现患者后，该采取何种措施？</vt:lpstr>
      <vt:lpstr>什么情况下需要就诊？</vt:lpstr>
      <vt:lpstr>谢谢您的聆听 疫情防护，大家一起努力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oleil Yi</cp:lastModifiedBy>
  <cp:revision>1</cp:revision>
  <cp:lastPrinted>2020-02-12T16:00:00Z</cp:lastPrinted>
  <dcterms:created xsi:type="dcterms:W3CDTF">2020-02-12T16:00:00Z</dcterms:created>
  <dcterms:modified xsi:type="dcterms:W3CDTF">2022-09-13T09:4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